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notesSlides/notesSlide2.xml" ContentType="application/vnd.openxmlformats-officedocument.presentationml.notesSlide+xml"/>
  <Override PartName="/ppt/tags/tag8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media/image31.jpg" ContentType="image/jpg"/>
  <Override PartName="/ppt/tags/tag85.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sldIdLst>
    <p:sldId id="920" r:id="rId2"/>
    <p:sldId id="295" r:id="rId3"/>
    <p:sldId id="921" r:id="rId4"/>
    <p:sldId id="901" r:id="rId5"/>
    <p:sldId id="316" r:id="rId6"/>
    <p:sldId id="1009" r:id="rId7"/>
    <p:sldId id="1011" r:id="rId8"/>
    <p:sldId id="1018" r:id="rId9"/>
    <p:sldId id="1019" r:id="rId10"/>
    <p:sldId id="902" r:id="rId11"/>
    <p:sldId id="925" r:id="rId12"/>
    <p:sldId id="300" r:id="rId13"/>
    <p:sldId id="916" r:id="rId14"/>
    <p:sldId id="1020" r:id="rId15"/>
    <p:sldId id="257" r:id="rId16"/>
    <p:sldId id="258" r:id="rId17"/>
    <p:sldId id="904" r:id="rId18"/>
    <p:sldId id="918" r:id="rId19"/>
    <p:sldId id="305" r:id="rId20"/>
    <p:sldId id="926" r:id="rId21"/>
    <p:sldId id="905" r:id="rId22"/>
    <p:sldId id="1016" r:id="rId23"/>
    <p:sldId id="1014" r:id="rId24"/>
    <p:sldId id="294" r:id="rId25"/>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E"/>
    <a:srgbClr val="000000"/>
    <a:srgbClr val="280071"/>
    <a:srgbClr val="284F51"/>
    <a:srgbClr val="FDDA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434" autoAdjust="0"/>
    <p:restoredTop sz="88694" autoAdjust="0"/>
  </p:normalViewPr>
  <p:slideViewPr>
    <p:cSldViewPr snapToGrid="0">
      <p:cViewPr varScale="1">
        <p:scale>
          <a:sx n="105" d="100"/>
          <a:sy n="105" d="100"/>
        </p:scale>
        <p:origin x="200" y="276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Net Revenue</c:v>
                </c:pt>
              </c:strCache>
            </c:strRef>
          </c:tx>
          <c:spPr>
            <a:solidFill>
              <a:schemeClr val="accent2"/>
            </a:solidFill>
            <a:ln>
              <a:noFill/>
            </a:ln>
            <a:effectLst/>
          </c:spPr>
          <c:invertIfNegative val="0"/>
          <c:cat>
            <c:strRef>
              <c:f>Sheet1!$B$1:$P$1</c:f>
              <c:strCache>
                <c:ptCount val="15"/>
                <c:pt idx="0">
                  <c:v>Q3 2016</c:v>
                </c:pt>
                <c:pt idx="1">
                  <c:v>Q4 2016</c:v>
                </c:pt>
                <c:pt idx="2">
                  <c:v>Q1 2017</c:v>
                </c:pt>
                <c:pt idx="3">
                  <c:v>Q2 2017</c:v>
                </c:pt>
                <c:pt idx="4">
                  <c:v>Q3 2017</c:v>
                </c:pt>
                <c:pt idx="5">
                  <c:v>Q4 2017</c:v>
                </c:pt>
                <c:pt idx="6">
                  <c:v>Q1 2018</c:v>
                </c:pt>
                <c:pt idx="7">
                  <c:v>Q2 2018</c:v>
                </c:pt>
                <c:pt idx="8">
                  <c:v>Q3 2018</c:v>
                </c:pt>
                <c:pt idx="9">
                  <c:v>Q4 2018</c:v>
                </c:pt>
                <c:pt idx="10">
                  <c:v>Q1 2019</c:v>
                </c:pt>
                <c:pt idx="11">
                  <c:v>Q2 2019</c:v>
                </c:pt>
                <c:pt idx="12">
                  <c:v>Q3 2019</c:v>
                </c:pt>
                <c:pt idx="13">
                  <c:v>Q4 2019</c:v>
                </c:pt>
                <c:pt idx="14">
                  <c:v>Q1 2020</c:v>
                </c:pt>
              </c:strCache>
            </c:strRef>
          </c:cat>
          <c:val>
            <c:numRef>
              <c:f>Sheet1!$B$2:$P$2</c:f>
              <c:numCache>
                <c:formatCode>_(* #,##0_);_(* \(#,##0\);_(* "-"??_);_(@_)</c:formatCode>
                <c:ptCount val="15"/>
                <c:pt idx="0">
                  <c:v>475</c:v>
                </c:pt>
                <c:pt idx="1">
                  <c:v>745</c:v>
                </c:pt>
                <c:pt idx="2">
                  <c:v>734</c:v>
                </c:pt>
                <c:pt idx="3">
                  <c:v>859</c:v>
                </c:pt>
                <c:pt idx="4">
                  <c:v>916</c:v>
                </c:pt>
                <c:pt idx="5">
                  <c:v>1300</c:v>
                </c:pt>
                <c:pt idx="6">
                  <c:v>985</c:v>
                </c:pt>
                <c:pt idx="7">
                  <c:v>1366</c:v>
                </c:pt>
                <c:pt idx="8">
                  <c:v>1724</c:v>
                </c:pt>
                <c:pt idx="9">
                  <c:v>1612</c:v>
                </c:pt>
                <c:pt idx="10">
                  <c:v>1769</c:v>
                </c:pt>
                <c:pt idx="11">
                  <c:v>2320</c:v>
                </c:pt>
                <c:pt idx="12">
                  <c:v>3095</c:v>
                </c:pt>
                <c:pt idx="13">
                  <c:v>3161</c:v>
                </c:pt>
                <c:pt idx="14">
                  <c:v>2529</c:v>
                </c:pt>
              </c:numCache>
            </c:numRef>
          </c:val>
          <c:extLst>
            <c:ext xmlns:c16="http://schemas.microsoft.com/office/drawing/2014/chart" uri="{C3380CC4-5D6E-409C-BE32-E72D297353CC}">
              <c16:uniqueId val="{00000000-A167-6544-BA02-83B2311D1916}"/>
            </c:ext>
          </c:extLst>
        </c:ser>
        <c:dLbls>
          <c:showLegendKey val="0"/>
          <c:showVal val="0"/>
          <c:showCatName val="0"/>
          <c:showSerName val="0"/>
          <c:showPercent val="0"/>
          <c:showBubbleSize val="0"/>
        </c:dLbls>
        <c:gapWidth val="150"/>
        <c:axId val="1991627231"/>
        <c:axId val="1991754047"/>
      </c:barChart>
      <c:lineChart>
        <c:grouping val="standard"/>
        <c:varyColors val="0"/>
        <c:ser>
          <c:idx val="1"/>
          <c:order val="1"/>
          <c:tx>
            <c:strRef>
              <c:f>Sheet1!$A$3</c:f>
              <c:strCache>
                <c:ptCount val="1"/>
                <c:pt idx="0">
                  <c:v>Rolling Average Net Revenue</c:v>
                </c:pt>
              </c:strCache>
            </c:strRef>
          </c:tx>
          <c:spPr>
            <a:ln w="44450" cap="rnd">
              <a:solidFill>
                <a:schemeClr val="accent1"/>
              </a:solidFill>
              <a:round/>
            </a:ln>
            <a:effectLst/>
          </c:spPr>
          <c:marker>
            <c:symbol val="none"/>
          </c:marker>
          <c:cat>
            <c:strRef>
              <c:f>Sheet1!$B$1:$P$1</c:f>
              <c:strCache>
                <c:ptCount val="15"/>
                <c:pt idx="0">
                  <c:v>Q3 2016</c:v>
                </c:pt>
                <c:pt idx="1">
                  <c:v>Q4 2016</c:v>
                </c:pt>
                <c:pt idx="2">
                  <c:v>Q1 2017</c:v>
                </c:pt>
                <c:pt idx="3">
                  <c:v>Q2 2017</c:v>
                </c:pt>
                <c:pt idx="4">
                  <c:v>Q3 2017</c:v>
                </c:pt>
                <c:pt idx="5">
                  <c:v>Q4 2017</c:v>
                </c:pt>
                <c:pt idx="6">
                  <c:v>Q1 2018</c:v>
                </c:pt>
                <c:pt idx="7">
                  <c:v>Q2 2018</c:v>
                </c:pt>
                <c:pt idx="8">
                  <c:v>Q3 2018</c:v>
                </c:pt>
                <c:pt idx="9">
                  <c:v>Q4 2018</c:v>
                </c:pt>
                <c:pt idx="10">
                  <c:v>Q1 2019</c:v>
                </c:pt>
                <c:pt idx="11">
                  <c:v>Q2 2019</c:v>
                </c:pt>
                <c:pt idx="12">
                  <c:v>Q3 2019</c:v>
                </c:pt>
                <c:pt idx="13">
                  <c:v>Q4 2019</c:v>
                </c:pt>
                <c:pt idx="14">
                  <c:v>Q1 2020</c:v>
                </c:pt>
              </c:strCache>
            </c:strRef>
          </c:cat>
          <c:val>
            <c:numRef>
              <c:f>Sheet1!$B$3:$P$3</c:f>
              <c:numCache>
                <c:formatCode>_(* #,##0_);_(* \(#,##0\);_(* "-"??_);_(@_)</c:formatCode>
                <c:ptCount val="15"/>
                <c:pt idx="0">
                  <c:v>521.75</c:v>
                </c:pt>
                <c:pt idx="1">
                  <c:v>579.75</c:v>
                </c:pt>
                <c:pt idx="2">
                  <c:v>615.75</c:v>
                </c:pt>
                <c:pt idx="3">
                  <c:v>703.25</c:v>
                </c:pt>
                <c:pt idx="4">
                  <c:v>813.5</c:v>
                </c:pt>
                <c:pt idx="5">
                  <c:v>952.25</c:v>
                </c:pt>
                <c:pt idx="6">
                  <c:v>1015</c:v>
                </c:pt>
                <c:pt idx="7">
                  <c:v>1141.75</c:v>
                </c:pt>
                <c:pt idx="8">
                  <c:v>1343.75</c:v>
                </c:pt>
                <c:pt idx="9">
                  <c:v>1421.75</c:v>
                </c:pt>
                <c:pt idx="10">
                  <c:v>1617.75</c:v>
                </c:pt>
                <c:pt idx="11">
                  <c:v>1856.25</c:v>
                </c:pt>
                <c:pt idx="12">
                  <c:v>2199</c:v>
                </c:pt>
                <c:pt idx="13">
                  <c:v>2586.25</c:v>
                </c:pt>
                <c:pt idx="14">
                  <c:v>2776.25</c:v>
                </c:pt>
              </c:numCache>
            </c:numRef>
          </c:val>
          <c:smooth val="0"/>
          <c:extLst>
            <c:ext xmlns:c16="http://schemas.microsoft.com/office/drawing/2014/chart" uri="{C3380CC4-5D6E-409C-BE32-E72D297353CC}">
              <c16:uniqueId val="{00000001-A167-6544-BA02-83B2311D1916}"/>
            </c:ext>
          </c:extLst>
        </c:ser>
        <c:dLbls>
          <c:showLegendKey val="0"/>
          <c:showVal val="0"/>
          <c:showCatName val="0"/>
          <c:showSerName val="0"/>
          <c:showPercent val="0"/>
          <c:showBubbleSize val="0"/>
        </c:dLbls>
        <c:marker val="1"/>
        <c:smooth val="0"/>
        <c:axId val="1991627231"/>
        <c:axId val="1991754047"/>
      </c:lineChart>
      <c:catAx>
        <c:axId val="1991627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1754047"/>
        <c:crosses val="autoZero"/>
        <c:auto val="1"/>
        <c:lblAlgn val="ctr"/>
        <c:lblOffset val="100"/>
        <c:noMultiLvlLbl val="0"/>
      </c:catAx>
      <c:valAx>
        <c:axId val="1991754047"/>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1627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BEC389-9095-D242-A839-DCA997CAD3E9}" type="doc">
      <dgm:prSet loTypeId="urn:microsoft.com/office/officeart/2005/8/layout/arrow2" loCatId="" qsTypeId="urn:microsoft.com/office/officeart/2005/8/quickstyle/simple1" qsCatId="simple" csTypeId="urn:microsoft.com/office/officeart/2005/8/colors/accent1_2" csCatId="accent1" phldr="1"/>
      <dgm:spPr/>
    </dgm:pt>
    <dgm:pt modelId="{9D0A645A-E91D-304F-AAC9-0107B110D2C7}">
      <dgm:prSet phldrT="[Text]" custT="1"/>
      <dgm:spPr/>
      <dgm:t>
        <a:bodyPr/>
        <a:lstStyle/>
        <a:p>
          <a:r>
            <a:rPr lang="en-US" sz="1800" b="0" dirty="0"/>
            <a:t>Nephros FDA 510(K) Clearances</a:t>
          </a:r>
        </a:p>
      </dgm:t>
    </dgm:pt>
    <dgm:pt modelId="{677E2222-C71F-BC46-B1B5-37B535C56961}" type="parTrans" cxnId="{DE2B4252-DDF3-8341-B293-C1E03BF2CBCE}">
      <dgm:prSet/>
      <dgm:spPr/>
      <dgm:t>
        <a:bodyPr/>
        <a:lstStyle/>
        <a:p>
          <a:endParaRPr lang="en-US" sz="2000" b="0"/>
        </a:p>
      </dgm:t>
    </dgm:pt>
    <dgm:pt modelId="{EDA53688-D803-A343-A9A2-0E15CF6E4A4F}" type="sibTrans" cxnId="{DE2B4252-DDF3-8341-B293-C1E03BF2CBCE}">
      <dgm:prSet/>
      <dgm:spPr/>
      <dgm:t>
        <a:bodyPr/>
        <a:lstStyle/>
        <a:p>
          <a:endParaRPr lang="en-US" sz="2000" b="0"/>
        </a:p>
      </dgm:t>
    </dgm:pt>
    <dgm:pt modelId="{E1E76301-1DC8-364F-9717-51F90DB4C487}">
      <dgm:prSet phldrT="[Text]" custT="1"/>
      <dgm:spPr/>
      <dgm:t>
        <a:bodyPr/>
        <a:lstStyle/>
        <a:p>
          <a:r>
            <a:rPr lang="en-US" sz="1800" b="0" dirty="0"/>
            <a:t>Nephros Water Safety Professionals Distribution Network</a:t>
          </a:r>
        </a:p>
      </dgm:t>
    </dgm:pt>
    <dgm:pt modelId="{793FF4B4-1196-3043-B25C-632A83D0365E}" type="parTrans" cxnId="{5D475CFC-3C23-A848-89E8-E403616351FB}">
      <dgm:prSet/>
      <dgm:spPr/>
      <dgm:t>
        <a:bodyPr/>
        <a:lstStyle/>
        <a:p>
          <a:endParaRPr lang="en-US" sz="2000" b="0"/>
        </a:p>
      </dgm:t>
    </dgm:pt>
    <dgm:pt modelId="{32E67481-D2F8-1141-ACB5-83F71E4FB591}" type="sibTrans" cxnId="{5D475CFC-3C23-A848-89E8-E403616351FB}">
      <dgm:prSet/>
      <dgm:spPr/>
      <dgm:t>
        <a:bodyPr/>
        <a:lstStyle/>
        <a:p>
          <a:endParaRPr lang="en-US" sz="2000" b="0"/>
        </a:p>
      </dgm:t>
    </dgm:pt>
    <dgm:pt modelId="{ACE741C6-A8F7-864D-B8DB-71A8A4C30E2E}">
      <dgm:prSet phldrT="[Text]" custT="1"/>
      <dgm:spPr/>
      <dgm:t>
        <a:bodyPr/>
        <a:lstStyle/>
        <a:p>
          <a:r>
            <a:rPr lang="en-US" sz="1800" b="0" dirty="0"/>
            <a:t>CMS Water Safety Requirement</a:t>
          </a:r>
        </a:p>
      </dgm:t>
    </dgm:pt>
    <dgm:pt modelId="{0D2BF7B0-B0BC-3043-A04C-24F448E83607}" type="parTrans" cxnId="{A183400B-8BFB-C04F-98BE-E7DE141DEA8B}">
      <dgm:prSet/>
      <dgm:spPr/>
      <dgm:t>
        <a:bodyPr/>
        <a:lstStyle/>
        <a:p>
          <a:endParaRPr lang="en-US" sz="2000" b="0"/>
        </a:p>
      </dgm:t>
    </dgm:pt>
    <dgm:pt modelId="{AF1A8832-DF78-AB4C-A45B-109C44A8CD21}" type="sibTrans" cxnId="{A183400B-8BFB-C04F-98BE-E7DE141DEA8B}">
      <dgm:prSet/>
      <dgm:spPr/>
      <dgm:t>
        <a:bodyPr/>
        <a:lstStyle/>
        <a:p>
          <a:endParaRPr lang="en-US" sz="2000" b="0"/>
        </a:p>
      </dgm:t>
    </dgm:pt>
    <dgm:pt modelId="{261D9ED9-CF21-8D41-937D-CADCF5386F26}">
      <dgm:prSet phldrT="[Text]" custT="1"/>
      <dgm:spPr/>
      <dgm:t>
        <a:bodyPr/>
        <a:lstStyle/>
        <a:p>
          <a:r>
            <a:rPr lang="en-US" sz="1800" b="0" dirty="0"/>
            <a:t>ASHRAE 188</a:t>
          </a:r>
        </a:p>
      </dgm:t>
    </dgm:pt>
    <dgm:pt modelId="{A97F8B0B-2426-0C48-B4F6-F5D674AE5B0C}" type="parTrans" cxnId="{13E5CA50-2968-F442-B153-C4DDDEFD17EB}">
      <dgm:prSet/>
      <dgm:spPr/>
      <dgm:t>
        <a:bodyPr/>
        <a:lstStyle/>
        <a:p>
          <a:endParaRPr lang="en-US" sz="2000" b="0"/>
        </a:p>
      </dgm:t>
    </dgm:pt>
    <dgm:pt modelId="{55CE1978-D0FC-7D40-9E0B-2366FE0B3D89}" type="sibTrans" cxnId="{13E5CA50-2968-F442-B153-C4DDDEFD17EB}">
      <dgm:prSet/>
      <dgm:spPr/>
      <dgm:t>
        <a:bodyPr/>
        <a:lstStyle/>
        <a:p>
          <a:endParaRPr lang="en-US" sz="2000" b="0"/>
        </a:p>
      </dgm:t>
    </dgm:pt>
    <dgm:pt modelId="{CA7206CA-34FA-AA4E-9ED0-B940FDD0B0A8}">
      <dgm:prSet phldrT="[Text]" custT="1"/>
      <dgm:spPr/>
      <dgm:t>
        <a:bodyPr/>
        <a:lstStyle/>
        <a:p>
          <a:r>
            <a:rPr lang="en-US" sz="1800" b="0" dirty="0"/>
            <a:t>Increased Pathogen Awareness</a:t>
          </a:r>
        </a:p>
      </dgm:t>
    </dgm:pt>
    <dgm:pt modelId="{9AC08357-9C65-8C4A-88A4-2CC833A5DE48}" type="parTrans" cxnId="{042BB293-CA6A-C94B-93F1-5277608E6DE4}">
      <dgm:prSet/>
      <dgm:spPr/>
      <dgm:t>
        <a:bodyPr/>
        <a:lstStyle/>
        <a:p>
          <a:endParaRPr lang="en-US" sz="2000" b="0"/>
        </a:p>
      </dgm:t>
    </dgm:pt>
    <dgm:pt modelId="{6FF79273-2E38-B643-9DF0-57BF3068BED7}" type="sibTrans" cxnId="{042BB293-CA6A-C94B-93F1-5277608E6DE4}">
      <dgm:prSet/>
      <dgm:spPr/>
      <dgm:t>
        <a:bodyPr/>
        <a:lstStyle/>
        <a:p>
          <a:endParaRPr lang="en-US" sz="2000" b="0"/>
        </a:p>
      </dgm:t>
    </dgm:pt>
    <dgm:pt modelId="{41C65C34-93CD-F846-BB13-49515E62CCF4}" type="pres">
      <dgm:prSet presAssocID="{A6BEC389-9095-D242-A839-DCA997CAD3E9}" presName="arrowDiagram" presStyleCnt="0">
        <dgm:presLayoutVars>
          <dgm:chMax val="5"/>
          <dgm:dir/>
          <dgm:resizeHandles val="exact"/>
        </dgm:presLayoutVars>
      </dgm:prSet>
      <dgm:spPr/>
    </dgm:pt>
    <dgm:pt modelId="{97CEB88B-58D9-624D-A43B-659370D49473}" type="pres">
      <dgm:prSet presAssocID="{A6BEC389-9095-D242-A839-DCA997CAD3E9}" presName="arrow" presStyleLbl="bgShp" presStyleIdx="0" presStyleCnt="1"/>
      <dgm:spPr/>
    </dgm:pt>
    <dgm:pt modelId="{1E240648-062B-2F45-B168-06BE52EE2401}" type="pres">
      <dgm:prSet presAssocID="{A6BEC389-9095-D242-A839-DCA997CAD3E9}" presName="arrowDiagram5" presStyleCnt="0"/>
      <dgm:spPr/>
    </dgm:pt>
    <dgm:pt modelId="{92568913-271A-DD40-9AAC-6BA762915DAE}" type="pres">
      <dgm:prSet presAssocID="{261D9ED9-CF21-8D41-937D-CADCF5386F26}" presName="bullet5a" presStyleLbl="node1" presStyleIdx="0" presStyleCnt="5"/>
      <dgm:spPr/>
    </dgm:pt>
    <dgm:pt modelId="{BFE7DF99-BB28-E140-B8AD-3845AD2A2E69}" type="pres">
      <dgm:prSet presAssocID="{261D9ED9-CF21-8D41-937D-CADCF5386F26}" presName="textBox5a" presStyleLbl="revTx" presStyleIdx="0" presStyleCnt="5">
        <dgm:presLayoutVars>
          <dgm:bulletEnabled val="1"/>
        </dgm:presLayoutVars>
      </dgm:prSet>
      <dgm:spPr/>
    </dgm:pt>
    <dgm:pt modelId="{CC017E90-DD53-BF47-9433-3871732F6E74}" type="pres">
      <dgm:prSet presAssocID="{9D0A645A-E91D-304F-AAC9-0107B110D2C7}" presName="bullet5b" presStyleLbl="node1" presStyleIdx="1" presStyleCnt="5"/>
      <dgm:spPr/>
    </dgm:pt>
    <dgm:pt modelId="{71F251B4-A27F-4547-A0E1-E047E021EF42}" type="pres">
      <dgm:prSet presAssocID="{9D0A645A-E91D-304F-AAC9-0107B110D2C7}" presName="textBox5b" presStyleLbl="revTx" presStyleIdx="1" presStyleCnt="5">
        <dgm:presLayoutVars>
          <dgm:bulletEnabled val="1"/>
        </dgm:presLayoutVars>
      </dgm:prSet>
      <dgm:spPr/>
    </dgm:pt>
    <dgm:pt modelId="{646614D3-AFC2-E546-9DFB-743457A4B11B}" type="pres">
      <dgm:prSet presAssocID="{E1E76301-1DC8-364F-9717-51F90DB4C487}" presName="bullet5c" presStyleLbl="node1" presStyleIdx="2" presStyleCnt="5"/>
      <dgm:spPr/>
    </dgm:pt>
    <dgm:pt modelId="{BD0BA7DF-6674-604A-B645-54B44183C721}" type="pres">
      <dgm:prSet presAssocID="{E1E76301-1DC8-364F-9717-51F90DB4C487}" presName="textBox5c" presStyleLbl="revTx" presStyleIdx="2" presStyleCnt="5">
        <dgm:presLayoutVars>
          <dgm:bulletEnabled val="1"/>
        </dgm:presLayoutVars>
      </dgm:prSet>
      <dgm:spPr/>
    </dgm:pt>
    <dgm:pt modelId="{612085DD-8B7D-E74E-B699-A8458FF34C9D}" type="pres">
      <dgm:prSet presAssocID="{ACE741C6-A8F7-864D-B8DB-71A8A4C30E2E}" presName="bullet5d" presStyleLbl="node1" presStyleIdx="3" presStyleCnt="5"/>
      <dgm:spPr/>
    </dgm:pt>
    <dgm:pt modelId="{34253A1E-2E0F-C941-97C2-ADE890E2EDA9}" type="pres">
      <dgm:prSet presAssocID="{ACE741C6-A8F7-864D-B8DB-71A8A4C30E2E}" presName="textBox5d" presStyleLbl="revTx" presStyleIdx="3" presStyleCnt="5">
        <dgm:presLayoutVars>
          <dgm:bulletEnabled val="1"/>
        </dgm:presLayoutVars>
      </dgm:prSet>
      <dgm:spPr/>
    </dgm:pt>
    <dgm:pt modelId="{84B53BA9-0541-8C4F-8056-779D8668F858}" type="pres">
      <dgm:prSet presAssocID="{CA7206CA-34FA-AA4E-9ED0-B940FDD0B0A8}" presName="bullet5e" presStyleLbl="node1" presStyleIdx="4" presStyleCnt="5"/>
      <dgm:spPr/>
    </dgm:pt>
    <dgm:pt modelId="{6FFCE289-F2B6-9C4F-BC3E-FEF3DBCCB2ED}" type="pres">
      <dgm:prSet presAssocID="{CA7206CA-34FA-AA4E-9ED0-B940FDD0B0A8}" presName="textBox5e" presStyleLbl="revTx" presStyleIdx="4" presStyleCnt="5">
        <dgm:presLayoutVars>
          <dgm:bulletEnabled val="1"/>
        </dgm:presLayoutVars>
      </dgm:prSet>
      <dgm:spPr/>
    </dgm:pt>
  </dgm:ptLst>
  <dgm:cxnLst>
    <dgm:cxn modelId="{AC7AA805-795B-FC41-A239-DD4DF66364B7}" type="presOf" srcId="{A6BEC389-9095-D242-A839-DCA997CAD3E9}" destId="{41C65C34-93CD-F846-BB13-49515E62CCF4}" srcOrd="0" destOrd="0" presId="urn:microsoft.com/office/officeart/2005/8/layout/arrow2"/>
    <dgm:cxn modelId="{A183400B-8BFB-C04F-98BE-E7DE141DEA8B}" srcId="{A6BEC389-9095-D242-A839-DCA997CAD3E9}" destId="{ACE741C6-A8F7-864D-B8DB-71A8A4C30E2E}" srcOrd="3" destOrd="0" parTransId="{0D2BF7B0-B0BC-3043-A04C-24F448E83607}" sibTransId="{AF1A8832-DF78-AB4C-A45B-109C44A8CD21}"/>
    <dgm:cxn modelId="{A3CC980C-EAE5-DA45-BD84-FFE3861EAEA4}" type="presOf" srcId="{E1E76301-1DC8-364F-9717-51F90DB4C487}" destId="{BD0BA7DF-6674-604A-B645-54B44183C721}" srcOrd="0" destOrd="0" presId="urn:microsoft.com/office/officeart/2005/8/layout/arrow2"/>
    <dgm:cxn modelId="{13E5CA50-2968-F442-B153-C4DDDEFD17EB}" srcId="{A6BEC389-9095-D242-A839-DCA997CAD3E9}" destId="{261D9ED9-CF21-8D41-937D-CADCF5386F26}" srcOrd="0" destOrd="0" parTransId="{A97F8B0B-2426-0C48-B4F6-F5D674AE5B0C}" sibTransId="{55CE1978-D0FC-7D40-9E0B-2366FE0B3D89}"/>
    <dgm:cxn modelId="{DE2B4252-DDF3-8341-B293-C1E03BF2CBCE}" srcId="{A6BEC389-9095-D242-A839-DCA997CAD3E9}" destId="{9D0A645A-E91D-304F-AAC9-0107B110D2C7}" srcOrd="1" destOrd="0" parTransId="{677E2222-C71F-BC46-B1B5-37B535C56961}" sibTransId="{EDA53688-D803-A343-A9A2-0E15CF6E4A4F}"/>
    <dgm:cxn modelId="{177AD469-E22D-3A43-A991-83DFD31A2005}" type="presOf" srcId="{9D0A645A-E91D-304F-AAC9-0107B110D2C7}" destId="{71F251B4-A27F-4547-A0E1-E047E021EF42}" srcOrd="0" destOrd="0" presId="urn:microsoft.com/office/officeart/2005/8/layout/arrow2"/>
    <dgm:cxn modelId="{18AD0387-C7DE-B24A-AF36-7F522DB61F0A}" type="presOf" srcId="{CA7206CA-34FA-AA4E-9ED0-B940FDD0B0A8}" destId="{6FFCE289-F2B6-9C4F-BC3E-FEF3DBCCB2ED}" srcOrd="0" destOrd="0" presId="urn:microsoft.com/office/officeart/2005/8/layout/arrow2"/>
    <dgm:cxn modelId="{042BB293-CA6A-C94B-93F1-5277608E6DE4}" srcId="{A6BEC389-9095-D242-A839-DCA997CAD3E9}" destId="{CA7206CA-34FA-AA4E-9ED0-B940FDD0B0A8}" srcOrd="4" destOrd="0" parTransId="{9AC08357-9C65-8C4A-88A4-2CC833A5DE48}" sibTransId="{6FF79273-2E38-B643-9DF0-57BF3068BED7}"/>
    <dgm:cxn modelId="{7928DADA-DAB4-884B-88CD-206B7A1B3E59}" type="presOf" srcId="{261D9ED9-CF21-8D41-937D-CADCF5386F26}" destId="{BFE7DF99-BB28-E140-B8AD-3845AD2A2E69}" srcOrd="0" destOrd="0" presId="urn:microsoft.com/office/officeart/2005/8/layout/arrow2"/>
    <dgm:cxn modelId="{05C265E2-9D4C-734D-B027-9D37AA93B056}" type="presOf" srcId="{ACE741C6-A8F7-864D-B8DB-71A8A4C30E2E}" destId="{34253A1E-2E0F-C941-97C2-ADE890E2EDA9}" srcOrd="0" destOrd="0" presId="urn:microsoft.com/office/officeart/2005/8/layout/arrow2"/>
    <dgm:cxn modelId="{5D475CFC-3C23-A848-89E8-E403616351FB}" srcId="{A6BEC389-9095-D242-A839-DCA997CAD3E9}" destId="{E1E76301-1DC8-364F-9717-51F90DB4C487}" srcOrd="2" destOrd="0" parTransId="{793FF4B4-1196-3043-B25C-632A83D0365E}" sibTransId="{32E67481-D2F8-1141-ACB5-83F71E4FB591}"/>
    <dgm:cxn modelId="{19779952-A359-2644-847A-7A2AF7BEF90D}" type="presParOf" srcId="{41C65C34-93CD-F846-BB13-49515E62CCF4}" destId="{97CEB88B-58D9-624D-A43B-659370D49473}" srcOrd="0" destOrd="0" presId="urn:microsoft.com/office/officeart/2005/8/layout/arrow2"/>
    <dgm:cxn modelId="{9558DC86-CDA5-A044-AD8F-9309198BF529}" type="presParOf" srcId="{41C65C34-93CD-F846-BB13-49515E62CCF4}" destId="{1E240648-062B-2F45-B168-06BE52EE2401}" srcOrd="1" destOrd="0" presId="urn:microsoft.com/office/officeart/2005/8/layout/arrow2"/>
    <dgm:cxn modelId="{CF83D83D-F6E0-4043-ACB1-2C9F9E954C72}" type="presParOf" srcId="{1E240648-062B-2F45-B168-06BE52EE2401}" destId="{92568913-271A-DD40-9AAC-6BA762915DAE}" srcOrd="0" destOrd="0" presId="urn:microsoft.com/office/officeart/2005/8/layout/arrow2"/>
    <dgm:cxn modelId="{ECBBCF16-619B-DD44-8695-86D8CF055688}" type="presParOf" srcId="{1E240648-062B-2F45-B168-06BE52EE2401}" destId="{BFE7DF99-BB28-E140-B8AD-3845AD2A2E69}" srcOrd="1" destOrd="0" presId="urn:microsoft.com/office/officeart/2005/8/layout/arrow2"/>
    <dgm:cxn modelId="{7A3F7759-35A8-5749-89EF-9F8D9D25D7C5}" type="presParOf" srcId="{1E240648-062B-2F45-B168-06BE52EE2401}" destId="{CC017E90-DD53-BF47-9433-3871732F6E74}" srcOrd="2" destOrd="0" presId="urn:microsoft.com/office/officeart/2005/8/layout/arrow2"/>
    <dgm:cxn modelId="{8691A749-BE9F-044F-8B34-E9A3661B9B58}" type="presParOf" srcId="{1E240648-062B-2F45-B168-06BE52EE2401}" destId="{71F251B4-A27F-4547-A0E1-E047E021EF42}" srcOrd="3" destOrd="0" presId="urn:microsoft.com/office/officeart/2005/8/layout/arrow2"/>
    <dgm:cxn modelId="{B3298691-880C-9046-9CC9-4A83E7235588}" type="presParOf" srcId="{1E240648-062B-2F45-B168-06BE52EE2401}" destId="{646614D3-AFC2-E546-9DFB-743457A4B11B}" srcOrd="4" destOrd="0" presId="urn:microsoft.com/office/officeart/2005/8/layout/arrow2"/>
    <dgm:cxn modelId="{EA5CA71D-253E-2B47-B0F3-E2E124ACE0CC}" type="presParOf" srcId="{1E240648-062B-2F45-B168-06BE52EE2401}" destId="{BD0BA7DF-6674-604A-B645-54B44183C721}" srcOrd="5" destOrd="0" presId="urn:microsoft.com/office/officeart/2005/8/layout/arrow2"/>
    <dgm:cxn modelId="{DCA13408-4E9D-2346-8DF5-53EB411121E5}" type="presParOf" srcId="{1E240648-062B-2F45-B168-06BE52EE2401}" destId="{612085DD-8B7D-E74E-B699-A8458FF34C9D}" srcOrd="6" destOrd="0" presId="urn:microsoft.com/office/officeart/2005/8/layout/arrow2"/>
    <dgm:cxn modelId="{4FFEB594-C2A5-034C-92F4-2AE52DF94A95}" type="presParOf" srcId="{1E240648-062B-2F45-B168-06BE52EE2401}" destId="{34253A1E-2E0F-C941-97C2-ADE890E2EDA9}" srcOrd="7" destOrd="0" presId="urn:microsoft.com/office/officeart/2005/8/layout/arrow2"/>
    <dgm:cxn modelId="{F21442D4-D16A-5A4B-8649-C38D649B5AFF}" type="presParOf" srcId="{1E240648-062B-2F45-B168-06BE52EE2401}" destId="{84B53BA9-0541-8C4F-8056-779D8668F858}" srcOrd="8" destOrd="0" presId="urn:microsoft.com/office/officeart/2005/8/layout/arrow2"/>
    <dgm:cxn modelId="{D301E024-4451-5D48-B2E8-F461A2D9AA50}" type="presParOf" srcId="{1E240648-062B-2F45-B168-06BE52EE2401}" destId="{6FFCE289-F2B6-9C4F-BC3E-FEF3DBCCB2ED}"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10C0D3-A062-1B4F-B369-E32154127467}" type="doc">
      <dgm:prSet loTypeId="urn:microsoft.com/office/officeart/2005/8/layout/hChevron3" loCatId="" qsTypeId="urn:microsoft.com/office/officeart/2005/8/quickstyle/simple1" qsCatId="simple" csTypeId="urn:microsoft.com/office/officeart/2005/8/colors/accent1_2" csCatId="accent1" phldr="1"/>
      <dgm:spPr/>
    </dgm:pt>
    <dgm:pt modelId="{1D240439-C1D6-4D4A-A5F8-C40D6FB3EC89}">
      <dgm:prSet phldrT="[Text]" custT="1"/>
      <dgm:spPr>
        <a:solidFill>
          <a:schemeClr val="accent1"/>
        </a:solidFill>
      </dgm:spPr>
      <dgm:t>
        <a:bodyPr/>
        <a:lstStyle/>
        <a:p>
          <a:r>
            <a:rPr lang="en-US" sz="1600" dirty="0"/>
            <a:t>2015</a:t>
          </a:r>
        </a:p>
      </dgm:t>
    </dgm:pt>
    <dgm:pt modelId="{3F2CE7C6-948C-1346-AEC6-2A2355F1F47E}" type="parTrans" cxnId="{856F3E19-238F-CF40-94F4-875AC774042F}">
      <dgm:prSet/>
      <dgm:spPr/>
      <dgm:t>
        <a:bodyPr/>
        <a:lstStyle/>
        <a:p>
          <a:endParaRPr lang="en-US" sz="2400"/>
        </a:p>
      </dgm:t>
    </dgm:pt>
    <dgm:pt modelId="{8D991633-B64A-2C44-B81E-E8BAE8F028DE}" type="sibTrans" cxnId="{856F3E19-238F-CF40-94F4-875AC774042F}">
      <dgm:prSet/>
      <dgm:spPr/>
      <dgm:t>
        <a:bodyPr/>
        <a:lstStyle/>
        <a:p>
          <a:endParaRPr lang="en-US" sz="2400"/>
        </a:p>
      </dgm:t>
    </dgm:pt>
    <dgm:pt modelId="{C9A4F0E6-0ECB-0C4E-9163-1FD5FFE13D61}">
      <dgm:prSet phldrT="[Text]" custT="1"/>
      <dgm:spPr>
        <a:solidFill>
          <a:schemeClr val="accent1"/>
        </a:solidFill>
      </dgm:spPr>
      <dgm:t>
        <a:bodyPr/>
        <a:lstStyle/>
        <a:p>
          <a:r>
            <a:rPr lang="en-US" sz="1600" dirty="0"/>
            <a:t>2016</a:t>
          </a:r>
        </a:p>
      </dgm:t>
    </dgm:pt>
    <dgm:pt modelId="{135DB860-DDE9-4D4C-A45E-A5A7FDEF6CA8}" type="parTrans" cxnId="{C10DD2DF-1158-3C49-AB42-DB7B83F628BF}">
      <dgm:prSet/>
      <dgm:spPr/>
      <dgm:t>
        <a:bodyPr/>
        <a:lstStyle/>
        <a:p>
          <a:endParaRPr lang="en-US" sz="2400"/>
        </a:p>
      </dgm:t>
    </dgm:pt>
    <dgm:pt modelId="{6540ED75-3EDF-614E-AB34-435803239A0E}" type="sibTrans" cxnId="{C10DD2DF-1158-3C49-AB42-DB7B83F628BF}">
      <dgm:prSet/>
      <dgm:spPr/>
      <dgm:t>
        <a:bodyPr/>
        <a:lstStyle/>
        <a:p>
          <a:endParaRPr lang="en-US" sz="2400"/>
        </a:p>
      </dgm:t>
    </dgm:pt>
    <dgm:pt modelId="{B1C25AA2-6EEB-6241-A964-F34F95DFDA32}">
      <dgm:prSet phldrT="[Text]" custT="1"/>
      <dgm:spPr>
        <a:solidFill>
          <a:schemeClr val="accent1"/>
        </a:solidFill>
      </dgm:spPr>
      <dgm:t>
        <a:bodyPr/>
        <a:lstStyle/>
        <a:p>
          <a:r>
            <a:rPr lang="en-US" sz="1600" dirty="0"/>
            <a:t>2017</a:t>
          </a:r>
        </a:p>
      </dgm:t>
    </dgm:pt>
    <dgm:pt modelId="{3D415753-E86B-0044-8D9E-FC224C2F7CFC}" type="parTrans" cxnId="{F3849DE7-0E1B-C642-9115-CC8A25B5E794}">
      <dgm:prSet/>
      <dgm:spPr/>
      <dgm:t>
        <a:bodyPr/>
        <a:lstStyle/>
        <a:p>
          <a:endParaRPr lang="en-US" sz="2400"/>
        </a:p>
      </dgm:t>
    </dgm:pt>
    <dgm:pt modelId="{BC4AC22C-9D41-D146-8AFE-5044CE4B7C6E}" type="sibTrans" cxnId="{F3849DE7-0E1B-C642-9115-CC8A25B5E794}">
      <dgm:prSet/>
      <dgm:spPr/>
      <dgm:t>
        <a:bodyPr/>
        <a:lstStyle/>
        <a:p>
          <a:endParaRPr lang="en-US" sz="2400"/>
        </a:p>
      </dgm:t>
    </dgm:pt>
    <dgm:pt modelId="{F4EA7ED3-69B4-2F4A-99D4-A641DFFC46C2}">
      <dgm:prSet phldrT="[Text]" custT="1"/>
      <dgm:spPr>
        <a:solidFill>
          <a:schemeClr val="accent1"/>
        </a:solidFill>
      </dgm:spPr>
      <dgm:t>
        <a:bodyPr/>
        <a:lstStyle/>
        <a:p>
          <a:r>
            <a:rPr lang="en-US" sz="1600" dirty="0"/>
            <a:t>2018</a:t>
          </a:r>
        </a:p>
      </dgm:t>
    </dgm:pt>
    <dgm:pt modelId="{D403FA13-E289-C042-A445-7CF394B80FC1}" type="parTrans" cxnId="{9859A990-C4D8-6242-983C-A0D3EBF1493E}">
      <dgm:prSet/>
      <dgm:spPr/>
      <dgm:t>
        <a:bodyPr/>
        <a:lstStyle/>
        <a:p>
          <a:endParaRPr lang="en-US" sz="2400"/>
        </a:p>
      </dgm:t>
    </dgm:pt>
    <dgm:pt modelId="{125DCB83-A2DF-5440-9205-46641207F04B}" type="sibTrans" cxnId="{9859A990-C4D8-6242-983C-A0D3EBF1493E}">
      <dgm:prSet/>
      <dgm:spPr/>
      <dgm:t>
        <a:bodyPr/>
        <a:lstStyle/>
        <a:p>
          <a:endParaRPr lang="en-US" sz="2400"/>
        </a:p>
      </dgm:t>
    </dgm:pt>
    <dgm:pt modelId="{592D1205-ADAB-D247-89CC-0C1ABB24AE0B}">
      <dgm:prSet phldrT="[Text]" custT="1"/>
      <dgm:spPr>
        <a:solidFill>
          <a:schemeClr val="accent1"/>
        </a:solidFill>
      </dgm:spPr>
      <dgm:t>
        <a:bodyPr/>
        <a:lstStyle/>
        <a:p>
          <a:r>
            <a:rPr lang="en-US" sz="1600" dirty="0"/>
            <a:t>2019</a:t>
          </a:r>
        </a:p>
      </dgm:t>
    </dgm:pt>
    <dgm:pt modelId="{119B9C6A-035B-7149-B820-BC13843B2342}" type="parTrans" cxnId="{F8ED27FB-44C3-F241-B503-221CADA5ACE1}">
      <dgm:prSet/>
      <dgm:spPr/>
      <dgm:t>
        <a:bodyPr/>
        <a:lstStyle/>
        <a:p>
          <a:endParaRPr lang="en-US" sz="2400"/>
        </a:p>
      </dgm:t>
    </dgm:pt>
    <dgm:pt modelId="{3A49264B-2EBF-5E4C-9E23-45809DFCC1FA}" type="sibTrans" cxnId="{F8ED27FB-44C3-F241-B503-221CADA5ACE1}">
      <dgm:prSet/>
      <dgm:spPr/>
      <dgm:t>
        <a:bodyPr/>
        <a:lstStyle/>
        <a:p>
          <a:endParaRPr lang="en-US" sz="2400"/>
        </a:p>
      </dgm:t>
    </dgm:pt>
    <dgm:pt modelId="{92257686-AF42-CA47-907C-C4072CF78A2A}">
      <dgm:prSet phldrT="[Text]" custT="1"/>
      <dgm:spPr>
        <a:solidFill>
          <a:schemeClr val="accent1"/>
        </a:solidFill>
      </dgm:spPr>
      <dgm:t>
        <a:bodyPr/>
        <a:lstStyle/>
        <a:p>
          <a:r>
            <a:rPr lang="en-US" sz="1600" dirty="0"/>
            <a:t>2020</a:t>
          </a:r>
        </a:p>
      </dgm:t>
    </dgm:pt>
    <dgm:pt modelId="{7D0D03AA-207F-884C-82D4-1735387BEE10}" type="parTrans" cxnId="{8C6D8EDF-7B4E-CF40-98BD-BFA9B9A8842B}">
      <dgm:prSet/>
      <dgm:spPr/>
      <dgm:t>
        <a:bodyPr/>
        <a:lstStyle/>
        <a:p>
          <a:endParaRPr lang="en-US" sz="2400"/>
        </a:p>
      </dgm:t>
    </dgm:pt>
    <dgm:pt modelId="{DD42C952-9BA1-DD49-933B-8EB1BDA3957B}" type="sibTrans" cxnId="{8C6D8EDF-7B4E-CF40-98BD-BFA9B9A8842B}">
      <dgm:prSet/>
      <dgm:spPr/>
      <dgm:t>
        <a:bodyPr/>
        <a:lstStyle/>
        <a:p>
          <a:endParaRPr lang="en-US" sz="2400"/>
        </a:p>
      </dgm:t>
    </dgm:pt>
    <dgm:pt modelId="{F4668271-25E6-5E4B-A144-D294B5533851}" type="pres">
      <dgm:prSet presAssocID="{6E10C0D3-A062-1B4F-B369-E32154127467}" presName="Name0" presStyleCnt="0">
        <dgm:presLayoutVars>
          <dgm:dir/>
          <dgm:resizeHandles val="exact"/>
        </dgm:presLayoutVars>
      </dgm:prSet>
      <dgm:spPr/>
    </dgm:pt>
    <dgm:pt modelId="{26364B97-42BA-0F4E-95EE-BDC8B6360B72}" type="pres">
      <dgm:prSet presAssocID="{1D240439-C1D6-4D4A-A5F8-C40D6FB3EC89}" presName="parTxOnly" presStyleLbl="node1" presStyleIdx="0" presStyleCnt="6">
        <dgm:presLayoutVars>
          <dgm:bulletEnabled val="1"/>
        </dgm:presLayoutVars>
      </dgm:prSet>
      <dgm:spPr/>
    </dgm:pt>
    <dgm:pt modelId="{67A03BD9-BB56-3E42-999F-5F0CD4845EFA}" type="pres">
      <dgm:prSet presAssocID="{8D991633-B64A-2C44-B81E-E8BAE8F028DE}" presName="parSpace" presStyleCnt="0"/>
      <dgm:spPr/>
    </dgm:pt>
    <dgm:pt modelId="{E0C5E4BC-E921-A040-AB7A-A349CEEF32F4}" type="pres">
      <dgm:prSet presAssocID="{C9A4F0E6-0ECB-0C4E-9163-1FD5FFE13D61}" presName="parTxOnly" presStyleLbl="node1" presStyleIdx="1" presStyleCnt="6">
        <dgm:presLayoutVars>
          <dgm:bulletEnabled val="1"/>
        </dgm:presLayoutVars>
      </dgm:prSet>
      <dgm:spPr/>
    </dgm:pt>
    <dgm:pt modelId="{A987922B-36BF-144C-BD7F-A3BEB99D9A8F}" type="pres">
      <dgm:prSet presAssocID="{6540ED75-3EDF-614E-AB34-435803239A0E}" presName="parSpace" presStyleCnt="0"/>
      <dgm:spPr/>
    </dgm:pt>
    <dgm:pt modelId="{1A160F19-9042-784A-8765-4926CE78DCD4}" type="pres">
      <dgm:prSet presAssocID="{B1C25AA2-6EEB-6241-A964-F34F95DFDA32}" presName="parTxOnly" presStyleLbl="node1" presStyleIdx="2" presStyleCnt="6">
        <dgm:presLayoutVars>
          <dgm:bulletEnabled val="1"/>
        </dgm:presLayoutVars>
      </dgm:prSet>
      <dgm:spPr/>
    </dgm:pt>
    <dgm:pt modelId="{BAC985DE-56C7-A447-BF9D-3C56E295994E}" type="pres">
      <dgm:prSet presAssocID="{BC4AC22C-9D41-D146-8AFE-5044CE4B7C6E}" presName="parSpace" presStyleCnt="0"/>
      <dgm:spPr/>
    </dgm:pt>
    <dgm:pt modelId="{8813BB2D-4623-8442-90A3-69367E93EBF0}" type="pres">
      <dgm:prSet presAssocID="{F4EA7ED3-69B4-2F4A-99D4-A641DFFC46C2}" presName="parTxOnly" presStyleLbl="node1" presStyleIdx="3" presStyleCnt="6">
        <dgm:presLayoutVars>
          <dgm:bulletEnabled val="1"/>
        </dgm:presLayoutVars>
      </dgm:prSet>
      <dgm:spPr/>
    </dgm:pt>
    <dgm:pt modelId="{2BFE111C-4158-1F4C-B3F9-81BF453CD8DF}" type="pres">
      <dgm:prSet presAssocID="{125DCB83-A2DF-5440-9205-46641207F04B}" presName="parSpace" presStyleCnt="0"/>
      <dgm:spPr/>
    </dgm:pt>
    <dgm:pt modelId="{F545C8EE-A1E8-6140-8728-0D3251AE29C5}" type="pres">
      <dgm:prSet presAssocID="{592D1205-ADAB-D247-89CC-0C1ABB24AE0B}" presName="parTxOnly" presStyleLbl="node1" presStyleIdx="4" presStyleCnt="6">
        <dgm:presLayoutVars>
          <dgm:bulletEnabled val="1"/>
        </dgm:presLayoutVars>
      </dgm:prSet>
      <dgm:spPr/>
    </dgm:pt>
    <dgm:pt modelId="{D633F8FB-4869-CD43-909A-336AB40B5A08}" type="pres">
      <dgm:prSet presAssocID="{3A49264B-2EBF-5E4C-9E23-45809DFCC1FA}" presName="parSpace" presStyleCnt="0"/>
      <dgm:spPr/>
    </dgm:pt>
    <dgm:pt modelId="{303E3D5A-B801-8044-8568-CD469D095BDF}" type="pres">
      <dgm:prSet presAssocID="{92257686-AF42-CA47-907C-C4072CF78A2A}" presName="parTxOnly" presStyleLbl="node1" presStyleIdx="5" presStyleCnt="6">
        <dgm:presLayoutVars>
          <dgm:bulletEnabled val="1"/>
        </dgm:presLayoutVars>
      </dgm:prSet>
      <dgm:spPr/>
    </dgm:pt>
  </dgm:ptLst>
  <dgm:cxnLst>
    <dgm:cxn modelId="{856F3E19-238F-CF40-94F4-875AC774042F}" srcId="{6E10C0D3-A062-1B4F-B369-E32154127467}" destId="{1D240439-C1D6-4D4A-A5F8-C40D6FB3EC89}" srcOrd="0" destOrd="0" parTransId="{3F2CE7C6-948C-1346-AEC6-2A2355F1F47E}" sibTransId="{8D991633-B64A-2C44-B81E-E8BAE8F028DE}"/>
    <dgm:cxn modelId="{3E42071A-63FF-3B49-9075-EDB302E90D55}" type="presOf" srcId="{592D1205-ADAB-D247-89CC-0C1ABB24AE0B}" destId="{F545C8EE-A1E8-6140-8728-0D3251AE29C5}" srcOrd="0" destOrd="0" presId="urn:microsoft.com/office/officeart/2005/8/layout/hChevron3"/>
    <dgm:cxn modelId="{4D0E6325-4735-4847-A163-1EEA80F3AD60}" type="presOf" srcId="{C9A4F0E6-0ECB-0C4E-9163-1FD5FFE13D61}" destId="{E0C5E4BC-E921-A040-AB7A-A349CEEF32F4}" srcOrd="0" destOrd="0" presId="urn:microsoft.com/office/officeart/2005/8/layout/hChevron3"/>
    <dgm:cxn modelId="{C4D08F42-998A-6E40-8AF3-6F48D7FE212E}" type="presOf" srcId="{92257686-AF42-CA47-907C-C4072CF78A2A}" destId="{303E3D5A-B801-8044-8568-CD469D095BDF}" srcOrd="0" destOrd="0" presId="urn:microsoft.com/office/officeart/2005/8/layout/hChevron3"/>
    <dgm:cxn modelId="{2B334152-D883-1747-B8A6-F0500E00661C}" type="presOf" srcId="{F4EA7ED3-69B4-2F4A-99D4-A641DFFC46C2}" destId="{8813BB2D-4623-8442-90A3-69367E93EBF0}" srcOrd="0" destOrd="0" presId="urn:microsoft.com/office/officeart/2005/8/layout/hChevron3"/>
    <dgm:cxn modelId="{AA7A3977-8883-F647-956A-752703A3F3D1}" type="presOf" srcId="{B1C25AA2-6EEB-6241-A964-F34F95DFDA32}" destId="{1A160F19-9042-784A-8765-4926CE78DCD4}" srcOrd="0" destOrd="0" presId="urn:microsoft.com/office/officeart/2005/8/layout/hChevron3"/>
    <dgm:cxn modelId="{9859A990-C4D8-6242-983C-A0D3EBF1493E}" srcId="{6E10C0D3-A062-1B4F-B369-E32154127467}" destId="{F4EA7ED3-69B4-2F4A-99D4-A641DFFC46C2}" srcOrd="3" destOrd="0" parTransId="{D403FA13-E289-C042-A445-7CF394B80FC1}" sibTransId="{125DCB83-A2DF-5440-9205-46641207F04B}"/>
    <dgm:cxn modelId="{A8139196-5BD6-3A4A-A26E-EC003BF27027}" type="presOf" srcId="{1D240439-C1D6-4D4A-A5F8-C40D6FB3EC89}" destId="{26364B97-42BA-0F4E-95EE-BDC8B6360B72}" srcOrd="0" destOrd="0" presId="urn:microsoft.com/office/officeart/2005/8/layout/hChevron3"/>
    <dgm:cxn modelId="{E0F5CED2-8B52-2A4C-9CE7-4FC47B537FDC}" type="presOf" srcId="{6E10C0D3-A062-1B4F-B369-E32154127467}" destId="{F4668271-25E6-5E4B-A144-D294B5533851}" srcOrd="0" destOrd="0" presId="urn:microsoft.com/office/officeart/2005/8/layout/hChevron3"/>
    <dgm:cxn modelId="{8C6D8EDF-7B4E-CF40-98BD-BFA9B9A8842B}" srcId="{6E10C0D3-A062-1B4F-B369-E32154127467}" destId="{92257686-AF42-CA47-907C-C4072CF78A2A}" srcOrd="5" destOrd="0" parTransId="{7D0D03AA-207F-884C-82D4-1735387BEE10}" sibTransId="{DD42C952-9BA1-DD49-933B-8EB1BDA3957B}"/>
    <dgm:cxn modelId="{C10DD2DF-1158-3C49-AB42-DB7B83F628BF}" srcId="{6E10C0D3-A062-1B4F-B369-E32154127467}" destId="{C9A4F0E6-0ECB-0C4E-9163-1FD5FFE13D61}" srcOrd="1" destOrd="0" parTransId="{135DB860-DDE9-4D4C-A45E-A5A7FDEF6CA8}" sibTransId="{6540ED75-3EDF-614E-AB34-435803239A0E}"/>
    <dgm:cxn modelId="{F3849DE7-0E1B-C642-9115-CC8A25B5E794}" srcId="{6E10C0D3-A062-1B4F-B369-E32154127467}" destId="{B1C25AA2-6EEB-6241-A964-F34F95DFDA32}" srcOrd="2" destOrd="0" parTransId="{3D415753-E86B-0044-8D9E-FC224C2F7CFC}" sibTransId="{BC4AC22C-9D41-D146-8AFE-5044CE4B7C6E}"/>
    <dgm:cxn modelId="{F8ED27FB-44C3-F241-B503-221CADA5ACE1}" srcId="{6E10C0D3-A062-1B4F-B369-E32154127467}" destId="{592D1205-ADAB-D247-89CC-0C1ABB24AE0B}" srcOrd="4" destOrd="0" parTransId="{119B9C6A-035B-7149-B820-BC13843B2342}" sibTransId="{3A49264B-2EBF-5E4C-9E23-45809DFCC1FA}"/>
    <dgm:cxn modelId="{22B80A1D-083D-4D4D-B787-38BC313ED7D7}" type="presParOf" srcId="{F4668271-25E6-5E4B-A144-D294B5533851}" destId="{26364B97-42BA-0F4E-95EE-BDC8B6360B72}" srcOrd="0" destOrd="0" presId="urn:microsoft.com/office/officeart/2005/8/layout/hChevron3"/>
    <dgm:cxn modelId="{DA361B27-576A-4F49-B7FF-3B7CE2810399}" type="presParOf" srcId="{F4668271-25E6-5E4B-A144-D294B5533851}" destId="{67A03BD9-BB56-3E42-999F-5F0CD4845EFA}" srcOrd="1" destOrd="0" presId="urn:microsoft.com/office/officeart/2005/8/layout/hChevron3"/>
    <dgm:cxn modelId="{D4D643D7-6C21-7C42-BCF5-05C65C77E13F}" type="presParOf" srcId="{F4668271-25E6-5E4B-A144-D294B5533851}" destId="{E0C5E4BC-E921-A040-AB7A-A349CEEF32F4}" srcOrd="2" destOrd="0" presId="urn:microsoft.com/office/officeart/2005/8/layout/hChevron3"/>
    <dgm:cxn modelId="{46F617FA-D75F-0447-8DAA-62A54590D1F0}" type="presParOf" srcId="{F4668271-25E6-5E4B-A144-D294B5533851}" destId="{A987922B-36BF-144C-BD7F-A3BEB99D9A8F}" srcOrd="3" destOrd="0" presId="urn:microsoft.com/office/officeart/2005/8/layout/hChevron3"/>
    <dgm:cxn modelId="{B45BDCEE-B4D6-6E4D-B064-07F2A7E27621}" type="presParOf" srcId="{F4668271-25E6-5E4B-A144-D294B5533851}" destId="{1A160F19-9042-784A-8765-4926CE78DCD4}" srcOrd="4" destOrd="0" presId="urn:microsoft.com/office/officeart/2005/8/layout/hChevron3"/>
    <dgm:cxn modelId="{99AB671D-838C-464F-8064-9A511480B8B2}" type="presParOf" srcId="{F4668271-25E6-5E4B-A144-D294B5533851}" destId="{BAC985DE-56C7-A447-BF9D-3C56E295994E}" srcOrd="5" destOrd="0" presId="urn:microsoft.com/office/officeart/2005/8/layout/hChevron3"/>
    <dgm:cxn modelId="{A35AEB92-87A7-4442-8CD7-F3158391F1C4}" type="presParOf" srcId="{F4668271-25E6-5E4B-A144-D294B5533851}" destId="{8813BB2D-4623-8442-90A3-69367E93EBF0}" srcOrd="6" destOrd="0" presId="urn:microsoft.com/office/officeart/2005/8/layout/hChevron3"/>
    <dgm:cxn modelId="{93393BBB-8EB2-444A-B30F-CE182CE8BE5C}" type="presParOf" srcId="{F4668271-25E6-5E4B-A144-D294B5533851}" destId="{2BFE111C-4158-1F4C-B3F9-81BF453CD8DF}" srcOrd="7" destOrd="0" presId="urn:microsoft.com/office/officeart/2005/8/layout/hChevron3"/>
    <dgm:cxn modelId="{716908D2-7166-F74B-8424-96CC284968F6}" type="presParOf" srcId="{F4668271-25E6-5E4B-A144-D294B5533851}" destId="{F545C8EE-A1E8-6140-8728-0D3251AE29C5}" srcOrd="8" destOrd="0" presId="urn:microsoft.com/office/officeart/2005/8/layout/hChevron3"/>
    <dgm:cxn modelId="{473A09BB-F8D3-2D43-935C-0515C4CAE0F1}" type="presParOf" srcId="{F4668271-25E6-5E4B-A144-D294B5533851}" destId="{D633F8FB-4869-CD43-909A-336AB40B5A08}" srcOrd="9" destOrd="0" presId="urn:microsoft.com/office/officeart/2005/8/layout/hChevron3"/>
    <dgm:cxn modelId="{A7F7F42A-C45E-9845-B603-246B1EE28AF2}" type="presParOf" srcId="{F4668271-25E6-5E4B-A144-D294B5533851}" destId="{303E3D5A-B801-8044-8568-CD469D095BDF}" srcOrd="10" destOrd="0" presId="urn:microsoft.com/office/officeart/2005/8/layout/hChevron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AB0C2D3-84B4-7649-8CC3-2AE4AF47F7F4}" type="doc">
      <dgm:prSet loTypeId="urn:microsoft.com/office/officeart/2005/8/layout/cycle6" loCatId="" qsTypeId="urn:microsoft.com/office/officeart/2005/8/quickstyle/simple1" qsCatId="simple" csTypeId="urn:microsoft.com/office/officeart/2005/8/colors/accent2_1" csCatId="accent2" phldr="1"/>
      <dgm:spPr/>
      <dgm:t>
        <a:bodyPr/>
        <a:lstStyle/>
        <a:p>
          <a:endParaRPr lang="en-US"/>
        </a:p>
      </dgm:t>
    </dgm:pt>
    <dgm:pt modelId="{F94DC3A4-5E39-AD4D-8C65-596F3B5C9C4D}">
      <dgm:prSet phldrT="[Text]"/>
      <dgm:spPr/>
      <dgm:t>
        <a:bodyPr/>
        <a:lstStyle/>
        <a:p>
          <a:r>
            <a:rPr lang="en-US" dirty="0"/>
            <a:t>Improved Outcomes</a:t>
          </a:r>
        </a:p>
      </dgm:t>
    </dgm:pt>
    <dgm:pt modelId="{F5E97189-6233-DA40-BBF6-888CE9A34E3A}" type="parTrans" cxnId="{956D517D-25FB-EA4A-A56A-AEC568C5F947}">
      <dgm:prSet/>
      <dgm:spPr/>
      <dgm:t>
        <a:bodyPr/>
        <a:lstStyle/>
        <a:p>
          <a:endParaRPr lang="en-US"/>
        </a:p>
      </dgm:t>
    </dgm:pt>
    <dgm:pt modelId="{35966297-F3E6-294C-8552-B421D7405A79}" type="sibTrans" cxnId="{956D517D-25FB-EA4A-A56A-AEC568C5F947}">
      <dgm:prSet/>
      <dgm:spPr/>
      <dgm:t>
        <a:bodyPr/>
        <a:lstStyle/>
        <a:p>
          <a:endParaRPr lang="en-US"/>
        </a:p>
      </dgm:t>
    </dgm:pt>
    <dgm:pt modelId="{2B154DE0-8786-F345-9A14-3E0AD838EABF}">
      <dgm:prSet phldrT="[Text]"/>
      <dgm:spPr/>
      <dgm:t>
        <a:bodyPr/>
        <a:lstStyle/>
        <a:p>
          <a:r>
            <a:rPr lang="en-US" dirty="0"/>
            <a:t>Ease of Use</a:t>
          </a:r>
        </a:p>
      </dgm:t>
    </dgm:pt>
    <dgm:pt modelId="{FD37D09A-108E-BC4B-B688-0B4AA4568742}" type="parTrans" cxnId="{0692CA8A-D2E5-9148-A332-9C092087D80C}">
      <dgm:prSet/>
      <dgm:spPr/>
      <dgm:t>
        <a:bodyPr/>
        <a:lstStyle/>
        <a:p>
          <a:endParaRPr lang="en-US"/>
        </a:p>
      </dgm:t>
    </dgm:pt>
    <dgm:pt modelId="{79B67714-29D8-874D-96D9-DF3082C36AB9}" type="sibTrans" cxnId="{0692CA8A-D2E5-9148-A332-9C092087D80C}">
      <dgm:prSet/>
      <dgm:spPr/>
      <dgm:t>
        <a:bodyPr/>
        <a:lstStyle/>
        <a:p>
          <a:endParaRPr lang="en-US"/>
        </a:p>
      </dgm:t>
    </dgm:pt>
    <dgm:pt modelId="{195B0A79-ABA8-824A-B023-6443643A94FF}">
      <dgm:prSet phldrT="[Text]"/>
      <dgm:spPr/>
      <dgm:t>
        <a:bodyPr/>
        <a:lstStyle/>
        <a:p>
          <a:r>
            <a:rPr lang="en-US" dirty="0"/>
            <a:t>Reduced Cost</a:t>
          </a:r>
        </a:p>
      </dgm:t>
    </dgm:pt>
    <dgm:pt modelId="{ECDE4CD6-06B3-B345-8111-6C79AD20E77D}" type="parTrans" cxnId="{A528E697-993D-C94C-8EED-F55772AD50FF}">
      <dgm:prSet/>
      <dgm:spPr/>
      <dgm:t>
        <a:bodyPr/>
        <a:lstStyle/>
        <a:p>
          <a:endParaRPr lang="en-US"/>
        </a:p>
      </dgm:t>
    </dgm:pt>
    <dgm:pt modelId="{3F8E6BED-86DE-2443-967A-9EAAB93AF442}" type="sibTrans" cxnId="{A528E697-993D-C94C-8EED-F55772AD50FF}">
      <dgm:prSet/>
      <dgm:spPr/>
      <dgm:t>
        <a:bodyPr/>
        <a:lstStyle/>
        <a:p>
          <a:endParaRPr lang="en-US"/>
        </a:p>
      </dgm:t>
    </dgm:pt>
    <dgm:pt modelId="{5BAE39B9-198B-5C44-8756-0CAFF3222759}">
      <dgm:prSet phldrT="[Text]"/>
      <dgm:spPr/>
      <dgm:t>
        <a:bodyPr/>
        <a:lstStyle/>
        <a:p>
          <a:r>
            <a:rPr lang="en-US" dirty="0"/>
            <a:t>Supported by Clinical Research</a:t>
          </a:r>
        </a:p>
      </dgm:t>
    </dgm:pt>
    <dgm:pt modelId="{3AA1C7BA-C215-5D43-BD82-C6B3770E4C7C}" type="parTrans" cxnId="{C1115527-18C5-5940-A0E2-7D0C70131EBF}">
      <dgm:prSet/>
      <dgm:spPr/>
      <dgm:t>
        <a:bodyPr/>
        <a:lstStyle/>
        <a:p>
          <a:endParaRPr lang="en-US"/>
        </a:p>
      </dgm:t>
    </dgm:pt>
    <dgm:pt modelId="{E52264BE-6438-1949-8F11-200ADE35A7D1}" type="sibTrans" cxnId="{C1115527-18C5-5940-A0E2-7D0C70131EBF}">
      <dgm:prSet/>
      <dgm:spPr/>
      <dgm:t>
        <a:bodyPr/>
        <a:lstStyle/>
        <a:p>
          <a:endParaRPr lang="en-US"/>
        </a:p>
      </dgm:t>
    </dgm:pt>
    <dgm:pt modelId="{DDDC4104-A986-B740-A89D-3A07BB0EB61C}" type="pres">
      <dgm:prSet presAssocID="{2AB0C2D3-84B4-7649-8CC3-2AE4AF47F7F4}" presName="cycle" presStyleCnt="0">
        <dgm:presLayoutVars>
          <dgm:dir/>
          <dgm:resizeHandles val="exact"/>
        </dgm:presLayoutVars>
      </dgm:prSet>
      <dgm:spPr/>
    </dgm:pt>
    <dgm:pt modelId="{F293A363-6390-AD4B-A52C-BC1C7F3B3371}" type="pres">
      <dgm:prSet presAssocID="{F94DC3A4-5E39-AD4D-8C65-596F3B5C9C4D}" presName="node" presStyleLbl="node1" presStyleIdx="0" presStyleCnt="4">
        <dgm:presLayoutVars>
          <dgm:bulletEnabled val="1"/>
        </dgm:presLayoutVars>
      </dgm:prSet>
      <dgm:spPr/>
    </dgm:pt>
    <dgm:pt modelId="{6D898BC9-2E32-BD49-B668-7546F81B4FF9}" type="pres">
      <dgm:prSet presAssocID="{F94DC3A4-5E39-AD4D-8C65-596F3B5C9C4D}" presName="spNode" presStyleCnt="0"/>
      <dgm:spPr/>
    </dgm:pt>
    <dgm:pt modelId="{E128FD5B-400C-5F41-AB25-9880C47DEEEE}" type="pres">
      <dgm:prSet presAssocID="{35966297-F3E6-294C-8552-B421D7405A79}" presName="sibTrans" presStyleLbl="sibTrans1D1" presStyleIdx="0" presStyleCnt="4"/>
      <dgm:spPr/>
    </dgm:pt>
    <dgm:pt modelId="{02E1CBE6-C728-B747-9C41-B9FA44608711}" type="pres">
      <dgm:prSet presAssocID="{2B154DE0-8786-F345-9A14-3E0AD838EABF}" presName="node" presStyleLbl="node1" presStyleIdx="1" presStyleCnt="4">
        <dgm:presLayoutVars>
          <dgm:bulletEnabled val="1"/>
        </dgm:presLayoutVars>
      </dgm:prSet>
      <dgm:spPr/>
    </dgm:pt>
    <dgm:pt modelId="{1AAD69C8-6C85-4C43-9CC1-FA170D8F600A}" type="pres">
      <dgm:prSet presAssocID="{2B154DE0-8786-F345-9A14-3E0AD838EABF}" presName="spNode" presStyleCnt="0"/>
      <dgm:spPr/>
    </dgm:pt>
    <dgm:pt modelId="{8F5CD862-7C4E-2740-997C-4D07626F3287}" type="pres">
      <dgm:prSet presAssocID="{79B67714-29D8-874D-96D9-DF3082C36AB9}" presName="sibTrans" presStyleLbl="sibTrans1D1" presStyleIdx="1" presStyleCnt="4"/>
      <dgm:spPr/>
    </dgm:pt>
    <dgm:pt modelId="{EE12D064-63AC-1347-8ECB-0A3E43293370}" type="pres">
      <dgm:prSet presAssocID="{195B0A79-ABA8-824A-B023-6443643A94FF}" presName="node" presStyleLbl="node1" presStyleIdx="2" presStyleCnt="4">
        <dgm:presLayoutVars>
          <dgm:bulletEnabled val="1"/>
        </dgm:presLayoutVars>
      </dgm:prSet>
      <dgm:spPr/>
    </dgm:pt>
    <dgm:pt modelId="{199277E5-0143-4040-B46D-1177E009277A}" type="pres">
      <dgm:prSet presAssocID="{195B0A79-ABA8-824A-B023-6443643A94FF}" presName="spNode" presStyleCnt="0"/>
      <dgm:spPr/>
    </dgm:pt>
    <dgm:pt modelId="{83D9C07F-2533-F34D-8E4A-3C72EAC6E747}" type="pres">
      <dgm:prSet presAssocID="{3F8E6BED-86DE-2443-967A-9EAAB93AF442}" presName="sibTrans" presStyleLbl="sibTrans1D1" presStyleIdx="2" presStyleCnt="4"/>
      <dgm:spPr/>
    </dgm:pt>
    <dgm:pt modelId="{A86819D4-5148-9E40-8162-F0D5B64338AB}" type="pres">
      <dgm:prSet presAssocID="{5BAE39B9-198B-5C44-8756-0CAFF3222759}" presName="node" presStyleLbl="node1" presStyleIdx="3" presStyleCnt="4">
        <dgm:presLayoutVars>
          <dgm:bulletEnabled val="1"/>
        </dgm:presLayoutVars>
      </dgm:prSet>
      <dgm:spPr/>
    </dgm:pt>
    <dgm:pt modelId="{662F5F57-6AFF-FB44-B4E4-075F44EEBF7D}" type="pres">
      <dgm:prSet presAssocID="{5BAE39B9-198B-5C44-8756-0CAFF3222759}" presName="spNode" presStyleCnt="0"/>
      <dgm:spPr/>
    </dgm:pt>
    <dgm:pt modelId="{FC0B588B-6151-C349-B802-E832AB429CC9}" type="pres">
      <dgm:prSet presAssocID="{E52264BE-6438-1949-8F11-200ADE35A7D1}" presName="sibTrans" presStyleLbl="sibTrans1D1" presStyleIdx="3" presStyleCnt="4"/>
      <dgm:spPr/>
    </dgm:pt>
  </dgm:ptLst>
  <dgm:cxnLst>
    <dgm:cxn modelId="{F9D5D512-1AC9-D647-82E4-880940D13191}" type="presOf" srcId="{35966297-F3E6-294C-8552-B421D7405A79}" destId="{E128FD5B-400C-5F41-AB25-9880C47DEEEE}" srcOrd="0" destOrd="0" presId="urn:microsoft.com/office/officeart/2005/8/layout/cycle6"/>
    <dgm:cxn modelId="{C1115527-18C5-5940-A0E2-7D0C70131EBF}" srcId="{2AB0C2D3-84B4-7649-8CC3-2AE4AF47F7F4}" destId="{5BAE39B9-198B-5C44-8756-0CAFF3222759}" srcOrd="3" destOrd="0" parTransId="{3AA1C7BA-C215-5D43-BD82-C6B3770E4C7C}" sibTransId="{E52264BE-6438-1949-8F11-200ADE35A7D1}"/>
    <dgm:cxn modelId="{90A74656-B8C8-FF46-BD87-DFD3FBD1A34A}" type="presOf" srcId="{2B154DE0-8786-F345-9A14-3E0AD838EABF}" destId="{02E1CBE6-C728-B747-9C41-B9FA44608711}" srcOrd="0" destOrd="0" presId="urn:microsoft.com/office/officeart/2005/8/layout/cycle6"/>
    <dgm:cxn modelId="{956D517D-25FB-EA4A-A56A-AEC568C5F947}" srcId="{2AB0C2D3-84B4-7649-8CC3-2AE4AF47F7F4}" destId="{F94DC3A4-5E39-AD4D-8C65-596F3B5C9C4D}" srcOrd="0" destOrd="0" parTransId="{F5E97189-6233-DA40-BBF6-888CE9A34E3A}" sibTransId="{35966297-F3E6-294C-8552-B421D7405A79}"/>
    <dgm:cxn modelId="{D9F95B80-A083-454D-B174-5647F535E526}" type="presOf" srcId="{2AB0C2D3-84B4-7649-8CC3-2AE4AF47F7F4}" destId="{DDDC4104-A986-B740-A89D-3A07BB0EB61C}" srcOrd="0" destOrd="0" presId="urn:microsoft.com/office/officeart/2005/8/layout/cycle6"/>
    <dgm:cxn modelId="{0692CA8A-D2E5-9148-A332-9C092087D80C}" srcId="{2AB0C2D3-84B4-7649-8CC3-2AE4AF47F7F4}" destId="{2B154DE0-8786-F345-9A14-3E0AD838EABF}" srcOrd="1" destOrd="0" parTransId="{FD37D09A-108E-BC4B-B688-0B4AA4568742}" sibTransId="{79B67714-29D8-874D-96D9-DF3082C36AB9}"/>
    <dgm:cxn modelId="{A528E697-993D-C94C-8EED-F55772AD50FF}" srcId="{2AB0C2D3-84B4-7649-8CC3-2AE4AF47F7F4}" destId="{195B0A79-ABA8-824A-B023-6443643A94FF}" srcOrd="2" destOrd="0" parTransId="{ECDE4CD6-06B3-B345-8111-6C79AD20E77D}" sibTransId="{3F8E6BED-86DE-2443-967A-9EAAB93AF442}"/>
    <dgm:cxn modelId="{7D5FF8CA-96ED-C947-AF47-37505395FB0A}" type="presOf" srcId="{E52264BE-6438-1949-8F11-200ADE35A7D1}" destId="{FC0B588B-6151-C349-B802-E832AB429CC9}" srcOrd="0" destOrd="0" presId="urn:microsoft.com/office/officeart/2005/8/layout/cycle6"/>
    <dgm:cxn modelId="{A564F3DE-3156-D243-A298-81B0369FB324}" type="presOf" srcId="{79B67714-29D8-874D-96D9-DF3082C36AB9}" destId="{8F5CD862-7C4E-2740-997C-4D07626F3287}" srcOrd="0" destOrd="0" presId="urn:microsoft.com/office/officeart/2005/8/layout/cycle6"/>
    <dgm:cxn modelId="{E03296E0-C5C6-474E-9EE2-B4487E148147}" type="presOf" srcId="{5BAE39B9-198B-5C44-8756-0CAFF3222759}" destId="{A86819D4-5148-9E40-8162-F0D5B64338AB}" srcOrd="0" destOrd="0" presId="urn:microsoft.com/office/officeart/2005/8/layout/cycle6"/>
    <dgm:cxn modelId="{0E200DEA-A8A0-5742-BBCE-37BD7248EBB3}" type="presOf" srcId="{3F8E6BED-86DE-2443-967A-9EAAB93AF442}" destId="{83D9C07F-2533-F34D-8E4A-3C72EAC6E747}" srcOrd="0" destOrd="0" presId="urn:microsoft.com/office/officeart/2005/8/layout/cycle6"/>
    <dgm:cxn modelId="{4DB556F3-748A-554E-8141-27EF468B6530}" type="presOf" srcId="{F94DC3A4-5E39-AD4D-8C65-596F3B5C9C4D}" destId="{F293A363-6390-AD4B-A52C-BC1C7F3B3371}" srcOrd="0" destOrd="0" presId="urn:microsoft.com/office/officeart/2005/8/layout/cycle6"/>
    <dgm:cxn modelId="{8D089EFA-F839-4F4A-9175-DC4697C4CD33}" type="presOf" srcId="{195B0A79-ABA8-824A-B023-6443643A94FF}" destId="{EE12D064-63AC-1347-8ECB-0A3E43293370}" srcOrd="0" destOrd="0" presId="urn:microsoft.com/office/officeart/2005/8/layout/cycle6"/>
    <dgm:cxn modelId="{73492220-0407-EA4B-88D0-A883076103EB}" type="presParOf" srcId="{DDDC4104-A986-B740-A89D-3A07BB0EB61C}" destId="{F293A363-6390-AD4B-A52C-BC1C7F3B3371}" srcOrd="0" destOrd="0" presId="urn:microsoft.com/office/officeart/2005/8/layout/cycle6"/>
    <dgm:cxn modelId="{E60FEDB3-86D8-BE4E-ACF5-9BE1F43B9A14}" type="presParOf" srcId="{DDDC4104-A986-B740-A89D-3A07BB0EB61C}" destId="{6D898BC9-2E32-BD49-B668-7546F81B4FF9}" srcOrd="1" destOrd="0" presId="urn:microsoft.com/office/officeart/2005/8/layout/cycle6"/>
    <dgm:cxn modelId="{C78CFB20-15E5-A748-B138-C6D8F8500208}" type="presParOf" srcId="{DDDC4104-A986-B740-A89D-3A07BB0EB61C}" destId="{E128FD5B-400C-5F41-AB25-9880C47DEEEE}" srcOrd="2" destOrd="0" presId="urn:microsoft.com/office/officeart/2005/8/layout/cycle6"/>
    <dgm:cxn modelId="{D6D515CA-2B9C-0F4B-A639-1B4CB5BCEE7D}" type="presParOf" srcId="{DDDC4104-A986-B740-A89D-3A07BB0EB61C}" destId="{02E1CBE6-C728-B747-9C41-B9FA44608711}" srcOrd="3" destOrd="0" presId="urn:microsoft.com/office/officeart/2005/8/layout/cycle6"/>
    <dgm:cxn modelId="{8DDCF27A-EE42-0D4C-ACB2-5F32259459B8}" type="presParOf" srcId="{DDDC4104-A986-B740-A89D-3A07BB0EB61C}" destId="{1AAD69C8-6C85-4C43-9CC1-FA170D8F600A}" srcOrd="4" destOrd="0" presId="urn:microsoft.com/office/officeart/2005/8/layout/cycle6"/>
    <dgm:cxn modelId="{BE709330-D268-DB4D-AF05-6D772F48891D}" type="presParOf" srcId="{DDDC4104-A986-B740-A89D-3A07BB0EB61C}" destId="{8F5CD862-7C4E-2740-997C-4D07626F3287}" srcOrd="5" destOrd="0" presId="urn:microsoft.com/office/officeart/2005/8/layout/cycle6"/>
    <dgm:cxn modelId="{2F6AD65B-7324-FA4E-A063-F40ACC20103C}" type="presParOf" srcId="{DDDC4104-A986-B740-A89D-3A07BB0EB61C}" destId="{EE12D064-63AC-1347-8ECB-0A3E43293370}" srcOrd="6" destOrd="0" presId="urn:microsoft.com/office/officeart/2005/8/layout/cycle6"/>
    <dgm:cxn modelId="{3269AC3F-3CFD-7642-B24D-1370E3B5A038}" type="presParOf" srcId="{DDDC4104-A986-B740-A89D-3A07BB0EB61C}" destId="{199277E5-0143-4040-B46D-1177E009277A}" srcOrd="7" destOrd="0" presId="urn:microsoft.com/office/officeart/2005/8/layout/cycle6"/>
    <dgm:cxn modelId="{72951A0D-0059-5E4A-93B3-4F97431CAF8C}" type="presParOf" srcId="{DDDC4104-A986-B740-A89D-3A07BB0EB61C}" destId="{83D9C07F-2533-F34D-8E4A-3C72EAC6E747}" srcOrd="8" destOrd="0" presId="urn:microsoft.com/office/officeart/2005/8/layout/cycle6"/>
    <dgm:cxn modelId="{6635D19C-7405-4D4F-A35D-1ECBCED6E478}" type="presParOf" srcId="{DDDC4104-A986-B740-A89D-3A07BB0EB61C}" destId="{A86819D4-5148-9E40-8162-F0D5B64338AB}" srcOrd="9" destOrd="0" presId="urn:microsoft.com/office/officeart/2005/8/layout/cycle6"/>
    <dgm:cxn modelId="{2003F2B6-5012-DE44-A1A4-B239E767824F}" type="presParOf" srcId="{DDDC4104-A986-B740-A89D-3A07BB0EB61C}" destId="{662F5F57-6AFF-FB44-B4E4-075F44EEBF7D}" srcOrd="10" destOrd="0" presId="urn:microsoft.com/office/officeart/2005/8/layout/cycle6"/>
    <dgm:cxn modelId="{C1B00CBC-BAAD-2A42-A5B3-7E51695AF01A}" type="presParOf" srcId="{DDDC4104-A986-B740-A89D-3A07BB0EB61C}" destId="{FC0B588B-6151-C349-B802-E832AB429CC9}" srcOrd="11"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18E1E60-9B8B-274C-80B3-C9283C997428}" type="doc">
      <dgm:prSet loTypeId="urn:microsoft.com/office/officeart/2005/8/layout/hProcess9" loCatId="" qsTypeId="urn:microsoft.com/office/officeart/2005/8/quickstyle/simple1" qsCatId="simple" csTypeId="urn:microsoft.com/office/officeart/2005/8/colors/accent2_1" csCatId="accent2" phldr="1"/>
      <dgm:spPr/>
    </dgm:pt>
    <dgm:pt modelId="{A4938E1A-FA9E-8842-80DE-0225CB5081E2}">
      <dgm:prSet phldrT="[Text]"/>
      <dgm:spPr/>
      <dgm:t>
        <a:bodyPr/>
        <a:lstStyle/>
        <a:p>
          <a:r>
            <a:rPr lang="en-US" b="1" dirty="0"/>
            <a:t>Define Medical Need</a:t>
          </a:r>
        </a:p>
      </dgm:t>
    </dgm:pt>
    <dgm:pt modelId="{5FAB328B-52E8-8D47-A77C-FD4B82234976}" type="parTrans" cxnId="{8ED43BB7-1707-3D4A-85FF-8AED575F6593}">
      <dgm:prSet/>
      <dgm:spPr/>
      <dgm:t>
        <a:bodyPr/>
        <a:lstStyle/>
        <a:p>
          <a:endParaRPr lang="en-US"/>
        </a:p>
      </dgm:t>
    </dgm:pt>
    <dgm:pt modelId="{AE092AC3-8ED8-054D-8004-D9D9DA42173E}" type="sibTrans" cxnId="{8ED43BB7-1707-3D4A-85FF-8AED575F6593}">
      <dgm:prSet/>
      <dgm:spPr/>
      <dgm:t>
        <a:bodyPr/>
        <a:lstStyle/>
        <a:p>
          <a:endParaRPr lang="en-US"/>
        </a:p>
      </dgm:t>
    </dgm:pt>
    <dgm:pt modelId="{F87F4A72-EA3B-DF40-A3AC-736A2AFD62A8}">
      <dgm:prSet/>
      <dgm:spPr/>
      <dgm:t>
        <a:bodyPr/>
        <a:lstStyle/>
        <a:p>
          <a:r>
            <a:rPr lang="en-US" b="1" dirty="0"/>
            <a:t>Product Development</a:t>
          </a:r>
        </a:p>
      </dgm:t>
    </dgm:pt>
    <dgm:pt modelId="{F98A4570-0ADB-7D44-BED5-7644851567C7}" type="parTrans" cxnId="{3630B407-89B5-0D44-AB87-CFE405970F90}">
      <dgm:prSet/>
      <dgm:spPr/>
      <dgm:t>
        <a:bodyPr/>
        <a:lstStyle/>
        <a:p>
          <a:endParaRPr lang="en-US"/>
        </a:p>
      </dgm:t>
    </dgm:pt>
    <dgm:pt modelId="{9794BADD-3CF3-A540-9F80-22DFB96A3DDA}" type="sibTrans" cxnId="{3630B407-89B5-0D44-AB87-CFE405970F90}">
      <dgm:prSet/>
      <dgm:spPr/>
      <dgm:t>
        <a:bodyPr/>
        <a:lstStyle/>
        <a:p>
          <a:endParaRPr lang="en-US"/>
        </a:p>
      </dgm:t>
    </dgm:pt>
    <dgm:pt modelId="{BFD48D67-6A0E-C44D-8446-BD1E3B5F16D7}">
      <dgm:prSet/>
      <dgm:spPr/>
      <dgm:t>
        <a:bodyPr/>
        <a:lstStyle/>
        <a:p>
          <a:r>
            <a:rPr lang="en-US" b="1" dirty="0"/>
            <a:t>Regulatory Submission / Clearance</a:t>
          </a:r>
        </a:p>
      </dgm:t>
    </dgm:pt>
    <dgm:pt modelId="{E6DF1A51-4DEE-4C4E-BE24-03688C0F514B}" type="parTrans" cxnId="{74A45219-E925-184A-967A-9E73B8663537}">
      <dgm:prSet/>
      <dgm:spPr/>
      <dgm:t>
        <a:bodyPr/>
        <a:lstStyle/>
        <a:p>
          <a:endParaRPr lang="en-US"/>
        </a:p>
      </dgm:t>
    </dgm:pt>
    <dgm:pt modelId="{0189DFBE-E66B-4343-BA91-00F6477CAEE6}" type="sibTrans" cxnId="{74A45219-E925-184A-967A-9E73B8663537}">
      <dgm:prSet/>
      <dgm:spPr/>
      <dgm:t>
        <a:bodyPr/>
        <a:lstStyle/>
        <a:p>
          <a:endParaRPr lang="en-US"/>
        </a:p>
      </dgm:t>
    </dgm:pt>
    <dgm:pt modelId="{24BCC66F-F57C-764B-959C-091CE778E97E}">
      <dgm:prSet/>
      <dgm:spPr/>
      <dgm:t>
        <a:bodyPr/>
        <a:lstStyle/>
        <a:p>
          <a:r>
            <a:rPr lang="en-US" b="1" dirty="0"/>
            <a:t>Develop Clinical Footprint / Industry Education</a:t>
          </a:r>
        </a:p>
      </dgm:t>
    </dgm:pt>
    <dgm:pt modelId="{C4D75A24-F4EF-8B4C-8E47-806A0607B9F6}" type="parTrans" cxnId="{9495B8A7-3090-C34D-86CD-3DF5EC302025}">
      <dgm:prSet/>
      <dgm:spPr/>
      <dgm:t>
        <a:bodyPr/>
        <a:lstStyle/>
        <a:p>
          <a:endParaRPr lang="en-US"/>
        </a:p>
      </dgm:t>
    </dgm:pt>
    <dgm:pt modelId="{13263106-19D6-0F45-8A67-C409BFC095EC}" type="sibTrans" cxnId="{9495B8A7-3090-C34D-86CD-3DF5EC302025}">
      <dgm:prSet/>
      <dgm:spPr/>
      <dgm:t>
        <a:bodyPr/>
        <a:lstStyle/>
        <a:p>
          <a:endParaRPr lang="en-US"/>
        </a:p>
      </dgm:t>
    </dgm:pt>
    <dgm:pt modelId="{B22589B1-35A9-604D-A51D-C2D11A5FBC46}">
      <dgm:prSet/>
      <dgm:spPr/>
      <dgm:t>
        <a:bodyPr/>
        <a:lstStyle/>
        <a:p>
          <a:r>
            <a:rPr lang="en-US" b="1" dirty="0"/>
            <a:t>Sales</a:t>
          </a:r>
        </a:p>
      </dgm:t>
    </dgm:pt>
    <dgm:pt modelId="{624E153B-2ADF-E44D-9CC8-A5C46ACC600B}" type="parTrans" cxnId="{5F9E0220-34FC-6744-A7D1-33A753171E30}">
      <dgm:prSet/>
      <dgm:spPr/>
      <dgm:t>
        <a:bodyPr/>
        <a:lstStyle/>
        <a:p>
          <a:endParaRPr lang="en-US"/>
        </a:p>
      </dgm:t>
    </dgm:pt>
    <dgm:pt modelId="{ECB5384C-EDC2-DA4D-AD0B-86DEDD7790F1}" type="sibTrans" cxnId="{5F9E0220-34FC-6744-A7D1-33A753171E30}">
      <dgm:prSet/>
      <dgm:spPr/>
      <dgm:t>
        <a:bodyPr/>
        <a:lstStyle/>
        <a:p>
          <a:endParaRPr lang="en-US"/>
        </a:p>
      </dgm:t>
    </dgm:pt>
    <dgm:pt modelId="{16A52B04-D500-0D41-B8E0-B714176C9CE8}" type="pres">
      <dgm:prSet presAssocID="{D18E1E60-9B8B-274C-80B3-C9283C997428}" presName="CompostProcess" presStyleCnt="0">
        <dgm:presLayoutVars>
          <dgm:dir/>
          <dgm:resizeHandles val="exact"/>
        </dgm:presLayoutVars>
      </dgm:prSet>
      <dgm:spPr/>
    </dgm:pt>
    <dgm:pt modelId="{3E5B544D-46D2-E74D-A8E2-F8759A612FDA}" type="pres">
      <dgm:prSet presAssocID="{D18E1E60-9B8B-274C-80B3-C9283C997428}" presName="arrow" presStyleLbl="bgShp" presStyleIdx="0" presStyleCnt="1" custScaleX="117647"/>
      <dgm:spPr>
        <a:solidFill>
          <a:schemeClr val="accent6">
            <a:lumMod val="20000"/>
            <a:lumOff val="80000"/>
          </a:schemeClr>
        </a:solidFill>
        <a:ln>
          <a:solidFill>
            <a:schemeClr val="accent2">
              <a:shade val="80000"/>
              <a:hueOff val="0"/>
              <a:satOff val="0"/>
              <a:lumOff val="0"/>
            </a:schemeClr>
          </a:solidFill>
        </a:ln>
      </dgm:spPr>
    </dgm:pt>
    <dgm:pt modelId="{B1529985-2F01-6840-887F-B7E3E44F2C27}" type="pres">
      <dgm:prSet presAssocID="{D18E1E60-9B8B-274C-80B3-C9283C997428}" presName="linearProcess" presStyleCnt="0"/>
      <dgm:spPr/>
    </dgm:pt>
    <dgm:pt modelId="{BBFAAC6D-FD60-B148-8D26-8E5C0A659A16}" type="pres">
      <dgm:prSet presAssocID="{A4938E1A-FA9E-8842-80DE-0225CB5081E2}" presName="textNode" presStyleLbl="node1" presStyleIdx="0" presStyleCnt="5">
        <dgm:presLayoutVars>
          <dgm:bulletEnabled val="1"/>
        </dgm:presLayoutVars>
      </dgm:prSet>
      <dgm:spPr/>
    </dgm:pt>
    <dgm:pt modelId="{FBEED5FB-E4B4-DD4C-BC30-9CB75B0F774A}" type="pres">
      <dgm:prSet presAssocID="{AE092AC3-8ED8-054D-8004-D9D9DA42173E}" presName="sibTrans" presStyleCnt="0"/>
      <dgm:spPr/>
    </dgm:pt>
    <dgm:pt modelId="{70CBB8A7-A7CB-C648-875A-814935ED134D}" type="pres">
      <dgm:prSet presAssocID="{F87F4A72-EA3B-DF40-A3AC-736A2AFD62A8}" presName="textNode" presStyleLbl="node1" presStyleIdx="1" presStyleCnt="5">
        <dgm:presLayoutVars>
          <dgm:bulletEnabled val="1"/>
        </dgm:presLayoutVars>
      </dgm:prSet>
      <dgm:spPr/>
    </dgm:pt>
    <dgm:pt modelId="{A603AEB3-8ABF-C246-BA89-94FD6720FE89}" type="pres">
      <dgm:prSet presAssocID="{9794BADD-3CF3-A540-9F80-22DFB96A3DDA}" presName="sibTrans" presStyleCnt="0"/>
      <dgm:spPr/>
    </dgm:pt>
    <dgm:pt modelId="{CA6C1885-BFF3-204E-93FF-9770F3D98F44}" type="pres">
      <dgm:prSet presAssocID="{BFD48D67-6A0E-C44D-8446-BD1E3B5F16D7}" presName="textNode" presStyleLbl="node1" presStyleIdx="2" presStyleCnt="5">
        <dgm:presLayoutVars>
          <dgm:bulletEnabled val="1"/>
        </dgm:presLayoutVars>
      </dgm:prSet>
      <dgm:spPr/>
    </dgm:pt>
    <dgm:pt modelId="{02B4DC87-EEAA-5D4D-B943-B187070FADEB}" type="pres">
      <dgm:prSet presAssocID="{0189DFBE-E66B-4343-BA91-00F6477CAEE6}" presName="sibTrans" presStyleCnt="0"/>
      <dgm:spPr/>
    </dgm:pt>
    <dgm:pt modelId="{75ED8104-F32D-AB44-B3F1-5A6BB9D1F0A0}" type="pres">
      <dgm:prSet presAssocID="{24BCC66F-F57C-764B-959C-091CE778E97E}" presName="textNode" presStyleLbl="node1" presStyleIdx="3" presStyleCnt="5" custScaleY="65832" custLinFactNeighborX="-41437" custLinFactNeighborY="-39051">
        <dgm:presLayoutVars>
          <dgm:bulletEnabled val="1"/>
        </dgm:presLayoutVars>
      </dgm:prSet>
      <dgm:spPr/>
    </dgm:pt>
    <dgm:pt modelId="{722224E0-2B4E-8C4D-8B69-DF53FD2145A8}" type="pres">
      <dgm:prSet presAssocID="{13263106-19D6-0F45-8A67-C409BFC095EC}" presName="sibTrans" presStyleCnt="0"/>
      <dgm:spPr/>
    </dgm:pt>
    <dgm:pt modelId="{D0AD75D8-AE3E-4743-937C-93E918F49C7F}" type="pres">
      <dgm:prSet presAssocID="{B22589B1-35A9-604D-A51D-C2D11A5FBC46}" presName="textNode" presStyleLbl="node1" presStyleIdx="4" presStyleCnt="5" custScaleY="65832" custLinFactX="-100000" custLinFactNeighborX="-146540" custLinFactNeighborY="40260">
        <dgm:presLayoutVars>
          <dgm:bulletEnabled val="1"/>
        </dgm:presLayoutVars>
      </dgm:prSet>
      <dgm:spPr/>
    </dgm:pt>
  </dgm:ptLst>
  <dgm:cxnLst>
    <dgm:cxn modelId="{3630B407-89B5-0D44-AB87-CFE405970F90}" srcId="{D18E1E60-9B8B-274C-80B3-C9283C997428}" destId="{F87F4A72-EA3B-DF40-A3AC-736A2AFD62A8}" srcOrd="1" destOrd="0" parTransId="{F98A4570-0ADB-7D44-BED5-7644851567C7}" sibTransId="{9794BADD-3CF3-A540-9F80-22DFB96A3DDA}"/>
    <dgm:cxn modelId="{74A45219-E925-184A-967A-9E73B8663537}" srcId="{D18E1E60-9B8B-274C-80B3-C9283C997428}" destId="{BFD48D67-6A0E-C44D-8446-BD1E3B5F16D7}" srcOrd="2" destOrd="0" parTransId="{E6DF1A51-4DEE-4C4E-BE24-03688C0F514B}" sibTransId="{0189DFBE-E66B-4343-BA91-00F6477CAEE6}"/>
    <dgm:cxn modelId="{5F9E0220-34FC-6744-A7D1-33A753171E30}" srcId="{D18E1E60-9B8B-274C-80B3-C9283C997428}" destId="{B22589B1-35A9-604D-A51D-C2D11A5FBC46}" srcOrd="4" destOrd="0" parTransId="{624E153B-2ADF-E44D-9CC8-A5C46ACC600B}" sibTransId="{ECB5384C-EDC2-DA4D-AD0B-86DEDD7790F1}"/>
    <dgm:cxn modelId="{0C91993B-0BCD-0B42-B721-A163EA97B3A7}" type="presOf" srcId="{F87F4A72-EA3B-DF40-A3AC-736A2AFD62A8}" destId="{70CBB8A7-A7CB-C648-875A-814935ED134D}" srcOrd="0" destOrd="0" presId="urn:microsoft.com/office/officeart/2005/8/layout/hProcess9"/>
    <dgm:cxn modelId="{7CDF9261-954A-454D-A6F0-C02BA75EDDB3}" type="presOf" srcId="{D18E1E60-9B8B-274C-80B3-C9283C997428}" destId="{16A52B04-D500-0D41-B8E0-B714176C9CE8}" srcOrd="0" destOrd="0" presId="urn:microsoft.com/office/officeart/2005/8/layout/hProcess9"/>
    <dgm:cxn modelId="{14207D84-CDAE-4946-BEC7-9654E77FCFB7}" type="presOf" srcId="{A4938E1A-FA9E-8842-80DE-0225CB5081E2}" destId="{BBFAAC6D-FD60-B148-8D26-8E5C0A659A16}" srcOrd="0" destOrd="0" presId="urn:microsoft.com/office/officeart/2005/8/layout/hProcess9"/>
    <dgm:cxn modelId="{9E7ACE87-B73E-D341-B3C7-8D1AAB928E98}" type="presOf" srcId="{24BCC66F-F57C-764B-959C-091CE778E97E}" destId="{75ED8104-F32D-AB44-B3F1-5A6BB9D1F0A0}" srcOrd="0" destOrd="0" presId="urn:microsoft.com/office/officeart/2005/8/layout/hProcess9"/>
    <dgm:cxn modelId="{D677868C-CB68-F040-B2E8-AB41DFB44534}" type="presOf" srcId="{B22589B1-35A9-604D-A51D-C2D11A5FBC46}" destId="{D0AD75D8-AE3E-4743-937C-93E918F49C7F}" srcOrd="0" destOrd="0" presId="urn:microsoft.com/office/officeart/2005/8/layout/hProcess9"/>
    <dgm:cxn modelId="{9495B8A7-3090-C34D-86CD-3DF5EC302025}" srcId="{D18E1E60-9B8B-274C-80B3-C9283C997428}" destId="{24BCC66F-F57C-764B-959C-091CE778E97E}" srcOrd="3" destOrd="0" parTransId="{C4D75A24-F4EF-8B4C-8E47-806A0607B9F6}" sibTransId="{13263106-19D6-0F45-8A67-C409BFC095EC}"/>
    <dgm:cxn modelId="{8ED43BB7-1707-3D4A-85FF-8AED575F6593}" srcId="{D18E1E60-9B8B-274C-80B3-C9283C997428}" destId="{A4938E1A-FA9E-8842-80DE-0225CB5081E2}" srcOrd="0" destOrd="0" parTransId="{5FAB328B-52E8-8D47-A77C-FD4B82234976}" sibTransId="{AE092AC3-8ED8-054D-8004-D9D9DA42173E}"/>
    <dgm:cxn modelId="{A809F5BA-FB7A-6441-859D-3E1CDCAD3FD5}" type="presOf" srcId="{BFD48D67-6A0E-C44D-8446-BD1E3B5F16D7}" destId="{CA6C1885-BFF3-204E-93FF-9770F3D98F44}" srcOrd="0" destOrd="0" presId="urn:microsoft.com/office/officeart/2005/8/layout/hProcess9"/>
    <dgm:cxn modelId="{1B10C62A-96FD-184A-9075-8917E07F1A5F}" type="presParOf" srcId="{16A52B04-D500-0D41-B8E0-B714176C9CE8}" destId="{3E5B544D-46D2-E74D-A8E2-F8759A612FDA}" srcOrd="0" destOrd="0" presId="urn:microsoft.com/office/officeart/2005/8/layout/hProcess9"/>
    <dgm:cxn modelId="{BEC3A3FB-A1AD-604B-A93A-99E0983D0A43}" type="presParOf" srcId="{16A52B04-D500-0D41-B8E0-B714176C9CE8}" destId="{B1529985-2F01-6840-887F-B7E3E44F2C27}" srcOrd="1" destOrd="0" presId="urn:microsoft.com/office/officeart/2005/8/layout/hProcess9"/>
    <dgm:cxn modelId="{92AC7DA7-8A59-3845-BEA1-6E22D2373BFB}" type="presParOf" srcId="{B1529985-2F01-6840-887F-B7E3E44F2C27}" destId="{BBFAAC6D-FD60-B148-8D26-8E5C0A659A16}" srcOrd="0" destOrd="0" presId="urn:microsoft.com/office/officeart/2005/8/layout/hProcess9"/>
    <dgm:cxn modelId="{78749FAF-365A-8A4E-86E5-B05EBE632657}" type="presParOf" srcId="{B1529985-2F01-6840-887F-B7E3E44F2C27}" destId="{FBEED5FB-E4B4-DD4C-BC30-9CB75B0F774A}" srcOrd="1" destOrd="0" presId="urn:microsoft.com/office/officeart/2005/8/layout/hProcess9"/>
    <dgm:cxn modelId="{27DD7CCE-45F7-654F-A753-D196FA15B610}" type="presParOf" srcId="{B1529985-2F01-6840-887F-B7E3E44F2C27}" destId="{70CBB8A7-A7CB-C648-875A-814935ED134D}" srcOrd="2" destOrd="0" presId="urn:microsoft.com/office/officeart/2005/8/layout/hProcess9"/>
    <dgm:cxn modelId="{9D9422F3-90CD-4949-B200-40057E5F1F94}" type="presParOf" srcId="{B1529985-2F01-6840-887F-B7E3E44F2C27}" destId="{A603AEB3-8ABF-C246-BA89-94FD6720FE89}" srcOrd="3" destOrd="0" presId="urn:microsoft.com/office/officeart/2005/8/layout/hProcess9"/>
    <dgm:cxn modelId="{B5B52B4F-6252-E24A-A621-DF310A6419B0}" type="presParOf" srcId="{B1529985-2F01-6840-887F-B7E3E44F2C27}" destId="{CA6C1885-BFF3-204E-93FF-9770F3D98F44}" srcOrd="4" destOrd="0" presId="urn:microsoft.com/office/officeart/2005/8/layout/hProcess9"/>
    <dgm:cxn modelId="{4CFFE856-C748-7049-862A-E28C1F3EF4A8}" type="presParOf" srcId="{B1529985-2F01-6840-887F-B7E3E44F2C27}" destId="{02B4DC87-EEAA-5D4D-B943-B187070FADEB}" srcOrd="5" destOrd="0" presId="urn:microsoft.com/office/officeart/2005/8/layout/hProcess9"/>
    <dgm:cxn modelId="{7EDE7AD7-DC8E-1A4F-9E27-71E16D8E380A}" type="presParOf" srcId="{B1529985-2F01-6840-887F-B7E3E44F2C27}" destId="{75ED8104-F32D-AB44-B3F1-5A6BB9D1F0A0}" srcOrd="6" destOrd="0" presId="urn:microsoft.com/office/officeart/2005/8/layout/hProcess9"/>
    <dgm:cxn modelId="{D95C3BCC-BEFC-BF4F-B72D-5E1F7CEAAFB6}" type="presParOf" srcId="{B1529985-2F01-6840-887F-B7E3E44F2C27}" destId="{722224E0-2B4E-8C4D-8B69-DF53FD2145A8}" srcOrd="7" destOrd="0" presId="urn:microsoft.com/office/officeart/2005/8/layout/hProcess9"/>
    <dgm:cxn modelId="{10562CC7-47BD-1E4B-9D2D-BE1830A8FD5D}" type="presParOf" srcId="{B1529985-2F01-6840-887F-B7E3E44F2C27}" destId="{D0AD75D8-AE3E-4743-937C-93E918F49C7F}"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CEB88B-58D9-624D-A43B-659370D49473}">
      <dsp:nvSpPr>
        <dsp:cNvPr id="0" name=""/>
        <dsp:cNvSpPr/>
      </dsp:nvSpPr>
      <dsp:spPr>
        <a:xfrm>
          <a:off x="0" y="185237"/>
          <a:ext cx="7409892" cy="4631182"/>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2568913-271A-DD40-9AAC-6BA762915DAE}">
      <dsp:nvSpPr>
        <dsp:cNvPr id="0" name=""/>
        <dsp:cNvSpPr/>
      </dsp:nvSpPr>
      <dsp:spPr>
        <a:xfrm>
          <a:off x="729874" y="3628985"/>
          <a:ext cx="170427" cy="17042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E7DF99-BB28-E140-B8AD-3845AD2A2E69}">
      <dsp:nvSpPr>
        <dsp:cNvPr id="0" name=""/>
        <dsp:cNvSpPr/>
      </dsp:nvSpPr>
      <dsp:spPr>
        <a:xfrm>
          <a:off x="815088" y="3714198"/>
          <a:ext cx="970695" cy="11022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0306" tIns="0" rIns="0" bIns="0" numCol="1" spcCol="1270" anchor="t" anchorCtr="0">
          <a:noAutofit/>
        </a:bodyPr>
        <a:lstStyle/>
        <a:p>
          <a:pPr marL="0" lvl="0" indent="0" algn="l" defTabSz="800100">
            <a:lnSpc>
              <a:spcPct val="90000"/>
            </a:lnSpc>
            <a:spcBef>
              <a:spcPct val="0"/>
            </a:spcBef>
            <a:spcAft>
              <a:spcPct val="35000"/>
            </a:spcAft>
            <a:buNone/>
          </a:pPr>
          <a:r>
            <a:rPr lang="en-US" sz="1800" b="0" kern="1200" dirty="0"/>
            <a:t>ASHRAE 188</a:t>
          </a:r>
        </a:p>
      </dsp:txBody>
      <dsp:txXfrm>
        <a:off x="815088" y="3714198"/>
        <a:ext cx="970695" cy="1102221"/>
      </dsp:txXfrm>
    </dsp:sp>
    <dsp:sp modelId="{CC017E90-DD53-BF47-9433-3871732F6E74}">
      <dsp:nvSpPr>
        <dsp:cNvPr id="0" name=""/>
        <dsp:cNvSpPr/>
      </dsp:nvSpPr>
      <dsp:spPr>
        <a:xfrm>
          <a:off x="1652405" y="2742576"/>
          <a:ext cx="266756" cy="26675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F251B4-A27F-4547-A0E1-E047E021EF42}">
      <dsp:nvSpPr>
        <dsp:cNvPr id="0" name=""/>
        <dsp:cNvSpPr/>
      </dsp:nvSpPr>
      <dsp:spPr>
        <a:xfrm>
          <a:off x="1785783" y="2875954"/>
          <a:ext cx="1230042" cy="1940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349" tIns="0" rIns="0" bIns="0" numCol="1" spcCol="1270" anchor="t" anchorCtr="0">
          <a:noAutofit/>
        </a:bodyPr>
        <a:lstStyle/>
        <a:p>
          <a:pPr marL="0" lvl="0" indent="0" algn="l" defTabSz="800100">
            <a:lnSpc>
              <a:spcPct val="90000"/>
            </a:lnSpc>
            <a:spcBef>
              <a:spcPct val="0"/>
            </a:spcBef>
            <a:spcAft>
              <a:spcPct val="35000"/>
            </a:spcAft>
            <a:buNone/>
          </a:pPr>
          <a:r>
            <a:rPr lang="en-US" sz="1800" b="0" kern="1200" dirty="0"/>
            <a:t>Nephros FDA 510(K) Clearances</a:t>
          </a:r>
        </a:p>
      </dsp:txBody>
      <dsp:txXfrm>
        <a:off x="1785783" y="2875954"/>
        <a:ext cx="1230042" cy="1940465"/>
      </dsp:txXfrm>
    </dsp:sp>
    <dsp:sp modelId="{646614D3-AFC2-E546-9DFB-743457A4B11B}">
      <dsp:nvSpPr>
        <dsp:cNvPr id="0" name=""/>
        <dsp:cNvSpPr/>
      </dsp:nvSpPr>
      <dsp:spPr>
        <a:xfrm>
          <a:off x="2837988" y="2035858"/>
          <a:ext cx="355674" cy="3556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0BA7DF-6674-604A-B645-54B44183C721}">
      <dsp:nvSpPr>
        <dsp:cNvPr id="0" name=""/>
        <dsp:cNvSpPr/>
      </dsp:nvSpPr>
      <dsp:spPr>
        <a:xfrm>
          <a:off x="3015826" y="2213695"/>
          <a:ext cx="1430109" cy="26027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8465" tIns="0" rIns="0" bIns="0" numCol="1" spcCol="1270" anchor="t" anchorCtr="0">
          <a:noAutofit/>
        </a:bodyPr>
        <a:lstStyle/>
        <a:p>
          <a:pPr marL="0" lvl="0" indent="0" algn="l" defTabSz="800100">
            <a:lnSpc>
              <a:spcPct val="90000"/>
            </a:lnSpc>
            <a:spcBef>
              <a:spcPct val="0"/>
            </a:spcBef>
            <a:spcAft>
              <a:spcPct val="35000"/>
            </a:spcAft>
            <a:buNone/>
          </a:pPr>
          <a:r>
            <a:rPr lang="en-US" sz="1800" b="0" kern="1200" dirty="0"/>
            <a:t>Nephros Water Safety Professionals Distribution Network</a:t>
          </a:r>
        </a:p>
      </dsp:txBody>
      <dsp:txXfrm>
        <a:off x="3015826" y="2213695"/>
        <a:ext cx="1430109" cy="2602724"/>
      </dsp:txXfrm>
    </dsp:sp>
    <dsp:sp modelId="{612085DD-8B7D-E74E-B699-A8458FF34C9D}">
      <dsp:nvSpPr>
        <dsp:cNvPr id="0" name=""/>
        <dsp:cNvSpPr/>
      </dsp:nvSpPr>
      <dsp:spPr>
        <a:xfrm>
          <a:off x="4216228" y="1483821"/>
          <a:ext cx="459413" cy="45941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253A1E-2E0F-C941-97C2-ADE890E2EDA9}">
      <dsp:nvSpPr>
        <dsp:cNvPr id="0" name=""/>
        <dsp:cNvSpPr/>
      </dsp:nvSpPr>
      <dsp:spPr>
        <a:xfrm>
          <a:off x="4445935" y="1713527"/>
          <a:ext cx="1481978" cy="310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3434" tIns="0" rIns="0" bIns="0" numCol="1" spcCol="1270" anchor="t" anchorCtr="0">
          <a:noAutofit/>
        </a:bodyPr>
        <a:lstStyle/>
        <a:p>
          <a:pPr marL="0" lvl="0" indent="0" algn="l" defTabSz="800100">
            <a:lnSpc>
              <a:spcPct val="90000"/>
            </a:lnSpc>
            <a:spcBef>
              <a:spcPct val="0"/>
            </a:spcBef>
            <a:spcAft>
              <a:spcPct val="35000"/>
            </a:spcAft>
            <a:buNone/>
          </a:pPr>
          <a:r>
            <a:rPr lang="en-US" sz="1800" b="0" kern="1200" dirty="0"/>
            <a:t>CMS Water Safety Requirement</a:t>
          </a:r>
        </a:p>
      </dsp:txBody>
      <dsp:txXfrm>
        <a:off x="4445935" y="1713527"/>
        <a:ext cx="1481978" cy="3102892"/>
      </dsp:txXfrm>
    </dsp:sp>
    <dsp:sp modelId="{84B53BA9-0541-8C4F-8056-779D8668F858}">
      <dsp:nvSpPr>
        <dsp:cNvPr id="0" name=""/>
        <dsp:cNvSpPr/>
      </dsp:nvSpPr>
      <dsp:spPr>
        <a:xfrm>
          <a:off x="5635222" y="1115179"/>
          <a:ext cx="585381" cy="58538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FFCE289-F2B6-9C4F-BC3E-FEF3DBCCB2ED}">
      <dsp:nvSpPr>
        <dsp:cNvPr id="0" name=""/>
        <dsp:cNvSpPr/>
      </dsp:nvSpPr>
      <dsp:spPr>
        <a:xfrm>
          <a:off x="5927913" y="1407869"/>
          <a:ext cx="1481978" cy="3408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0182" tIns="0" rIns="0" bIns="0" numCol="1" spcCol="1270" anchor="t" anchorCtr="0">
          <a:noAutofit/>
        </a:bodyPr>
        <a:lstStyle/>
        <a:p>
          <a:pPr marL="0" lvl="0" indent="0" algn="l" defTabSz="800100">
            <a:lnSpc>
              <a:spcPct val="90000"/>
            </a:lnSpc>
            <a:spcBef>
              <a:spcPct val="0"/>
            </a:spcBef>
            <a:spcAft>
              <a:spcPct val="35000"/>
            </a:spcAft>
            <a:buNone/>
          </a:pPr>
          <a:r>
            <a:rPr lang="en-US" sz="1800" b="0" kern="1200" dirty="0"/>
            <a:t>Increased Pathogen Awareness</a:t>
          </a:r>
        </a:p>
      </dsp:txBody>
      <dsp:txXfrm>
        <a:off x="5927913" y="1407869"/>
        <a:ext cx="1481978" cy="34085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364B97-42BA-0F4E-95EE-BDC8B6360B72}">
      <dsp:nvSpPr>
        <dsp:cNvPr id="0" name=""/>
        <dsp:cNvSpPr/>
      </dsp:nvSpPr>
      <dsp:spPr>
        <a:xfrm>
          <a:off x="904" y="0"/>
          <a:ext cx="1481616" cy="464771"/>
        </a:xfrm>
        <a:prstGeom prst="homePlat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15</a:t>
          </a:r>
        </a:p>
      </dsp:txBody>
      <dsp:txXfrm>
        <a:off x="904" y="0"/>
        <a:ext cx="1365423" cy="464771"/>
      </dsp:txXfrm>
    </dsp:sp>
    <dsp:sp modelId="{E0C5E4BC-E921-A040-AB7A-A349CEEF32F4}">
      <dsp:nvSpPr>
        <dsp:cNvPr id="0" name=""/>
        <dsp:cNvSpPr/>
      </dsp:nvSpPr>
      <dsp:spPr>
        <a:xfrm>
          <a:off x="1186197" y="0"/>
          <a:ext cx="1481616" cy="46477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16</a:t>
          </a:r>
        </a:p>
      </dsp:txBody>
      <dsp:txXfrm>
        <a:off x="1418583" y="0"/>
        <a:ext cx="1016845" cy="464771"/>
      </dsp:txXfrm>
    </dsp:sp>
    <dsp:sp modelId="{1A160F19-9042-784A-8765-4926CE78DCD4}">
      <dsp:nvSpPr>
        <dsp:cNvPr id="0" name=""/>
        <dsp:cNvSpPr/>
      </dsp:nvSpPr>
      <dsp:spPr>
        <a:xfrm>
          <a:off x="2371491" y="0"/>
          <a:ext cx="1481616" cy="46477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17</a:t>
          </a:r>
        </a:p>
      </dsp:txBody>
      <dsp:txXfrm>
        <a:off x="2603877" y="0"/>
        <a:ext cx="1016845" cy="464771"/>
      </dsp:txXfrm>
    </dsp:sp>
    <dsp:sp modelId="{8813BB2D-4623-8442-90A3-69367E93EBF0}">
      <dsp:nvSpPr>
        <dsp:cNvPr id="0" name=""/>
        <dsp:cNvSpPr/>
      </dsp:nvSpPr>
      <dsp:spPr>
        <a:xfrm>
          <a:off x="3556784" y="0"/>
          <a:ext cx="1481616" cy="46477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18</a:t>
          </a:r>
        </a:p>
      </dsp:txBody>
      <dsp:txXfrm>
        <a:off x="3789170" y="0"/>
        <a:ext cx="1016845" cy="464771"/>
      </dsp:txXfrm>
    </dsp:sp>
    <dsp:sp modelId="{F545C8EE-A1E8-6140-8728-0D3251AE29C5}">
      <dsp:nvSpPr>
        <dsp:cNvPr id="0" name=""/>
        <dsp:cNvSpPr/>
      </dsp:nvSpPr>
      <dsp:spPr>
        <a:xfrm>
          <a:off x="4742077" y="0"/>
          <a:ext cx="1481616" cy="46477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19</a:t>
          </a:r>
        </a:p>
      </dsp:txBody>
      <dsp:txXfrm>
        <a:off x="4974463" y="0"/>
        <a:ext cx="1016845" cy="464771"/>
      </dsp:txXfrm>
    </dsp:sp>
    <dsp:sp modelId="{303E3D5A-B801-8044-8568-CD469D095BDF}">
      <dsp:nvSpPr>
        <dsp:cNvPr id="0" name=""/>
        <dsp:cNvSpPr/>
      </dsp:nvSpPr>
      <dsp:spPr>
        <a:xfrm>
          <a:off x="5927370" y="0"/>
          <a:ext cx="1481616" cy="464771"/>
        </a:xfrm>
        <a:prstGeom prst="chevr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2020</a:t>
          </a:r>
        </a:p>
      </dsp:txBody>
      <dsp:txXfrm>
        <a:off x="6159756" y="0"/>
        <a:ext cx="1016845" cy="4647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93A363-6390-AD4B-A52C-BC1C7F3B3371}">
      <dsp:nvSpPr>
        <dsp:cNvPr id="0" name=""/>
        <dsp:cNvSpPr/>
      </dsp:nvSpPr>
      <dsp:spPr>
        <a:xfrm>
          <a:off x="1845235" y="777"/>
          <a:ext cx="1295072" cy="84179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mproved Outcomes</a:t>
          </a:r>
        </a:p>
      </dsp:txBody>
      <dsp:txXfrm>
        <a:off x="1886328" y="41870"/>
        <a:ext cx="1212886" cy="759611"/>
      </dsp:txXfrm>
    </dsp:sp>
    <dsp:sp modelId="{E128FD5B-400C-5F41-AB25-9880C47DEEEE}">
      <dsp:nvSpPr>
        <dsp:cNvPr id="0" name=""/>
        <dsp:cNvSpPr/>
      </dsp:nvSpPr>
      <dsp:spPr>
        <a:xfrm>
          <a:off x="1102472" y="421675"/>
          <a:ext cx="2780599" cy="2780599"/>
        </a:xfrm>
        <a:custGeom>
          <a:avLst/>
          <a:gdLst/>
          <a:ahLst/>
          <a:cxnLst/>
          <a:rect l="0" t="0" r="0" b="0"/>
          <a:pathLst>
            <a:path>
              <a:moveTo>
                <a:pt x="2047158" y="164954"/>
              </a:moveTo>
              <a:arcTo wR="1390299" hR="1390299" stAng="17891638" swAng="262492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2E1CBE6-C728-B747-9C41-B9FA44608711}">
      <dsp:nvSpPr>
        <dsp:cNvPr id="0" name=""/>
        <dsp:cNvSpPr/>
      </dsp:nvSpPr>
      <dsp:spPr>
        <a:xfrm>
          <a:off x="3235535" y="1391076"/>
          <a:ext cx="1295072" cy="84179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Ease of Use</a:t>
          </a:r>
        </a:p>
      </dsp:txBody>
      <dsp:txXfrm>
        <a:off x="3276628" y="1432169"/>
        <a:ext cx="1212886" cy="759611"/>
      </dsp:txXfrm>
    </dsp:sp>
    <dsp:sp modelId="{8F5CD862-7C4E-2740-997C-4D07626F3287}">
      <dsp:nvSpPr>
        <dsp:cNvPr id="0" name=""/>
        <dsp:cNvSpPr/>
      </dsp:nvSpPr>
      <dsp:spPr>
        <a:xfrm>
          <a:off x="1102472" y="421675"/>
          <a:ext cx="2780599" cy="2780599"/>
        </a:xfrm>
        <a:custGeom>
          <a:avLst/>
          <a:gdLst/>
          <a:ahLst/>
          <a:cxnLst/>
          <a:rect l="0" t="0" r="0" b="0"/>
          <a:pathLst>
            <a:path>
              <a:moveTo>
                <a:pt x="2712123" y="1821246"/>
              </a:moveTo>
              <a:arcTo wR="1390299" hR="1390299" stAng="1083433" swAng="262492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E12D064-63AC-1347-8ECB-0A3E43293370}">
      <dsp:nvSpPr>
        <dsp:cNvPr id="0" name=""/>
        <dsp:cNvSpPr/>
      </dsp:nvSpPr>
      <dsp:spPr>
        <a:xfrm>
          <a:off x="1845235" y="2781376"/>
          <a:ext cx="1295072" cy="84179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Reduced Cost</a:t>
          </a:r>
        </a:p>
      </dsp:txBody>
      <dsp:txXfrm>
        <a:off x="1886328" y="2822469"/>
        <a:ext cx="1212886" cy="759611"/>
      </dsp:txXfrm>
    </dsp:sp>
    <dsp:sp modelId="{83D9C07F-2533-F34D-8E4A-3C72EAC6E747}">
      <dsp:nvSpPr>
        <dsp:cNvPr id="0" name=""/>
        <dsp:cNvSpPr/>
      </dsp:nvSpPr>
      <dsp:spPr>
        <a:xfrm>
          <a:off x="1102472" y="421675"/>
          <a:ext cx="2780599" cy="2780599"/>
        </a:xfrm>
        <a:custGeom>
          <a:avLst/>
          <a:gdLst/>
          <a:ahLst/>
          <a:cxnLst/>
          <a:rect l="0" t="0" r="0" b="0"/>
          <a:pathLst>
            <a:path>
              <a:moveTo>
                <a:pt x="733441" y="2615644"/>
              </a:moveTo>
              <a:arcTo wR="1390299" hR="1390299" stAng="7091638" swAng="262492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86819D4-5148-9E40-8162-F0D5B64338AB}">
      <dsp:nvSpPr>
        <dsp:cNvPr id="0" name=""/>
        <dsp:cNvSpPr/>
      </dsp:nvSpPr>
      <dsp:spPr>
        <a:xfrm>
          <a:off x="454935" y="1391076"/>
          <a:ext cx="1295072" cy="841797"/>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Supported by Clinical Research</a:t>
          </a:r>
        </a:p>
      </dsp:txBody>
      <dsp:txXfrm>
        <a:off x="496028" y="1432169"/>
        <a:ext cx="1212886" cy="759611"/>
      </dsp:txXfrm>
    </dsp:sp>
    <dsp:sp modelId="{FC0B588B-6151-C349-B802-E832AB429CC9}">
      <dsp:nvSpPr>
        <dsp:cNvPr id="0" name=""/>
        <dsp:cNvSpPr/>
      </dsp:nvSpPr>
      <dsp:spPr>
        <a:xfrm>
          <a:off x="1102472" y="421675"/>
          <a:ext cx="2780599" cy="2780599"/>
        </a:xfrm>
        <a:custGeom>
          <a:avLst/>
          <a:gdLst/>
          <a:ahLst/>
          <a:cxnLst/>
          <a:rect l="0" t="0" r="0" b="0"/>
          <a:pathLst>
            <a:path>
              <a:moveTo>
                <a:pt x="68475" y="959353"/>
              </a:moveTo>
              <a:arcTo wR="1390299" hR="1390299" stAng="11883433" swAng="262492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5B544D-46D2-E74D-A8E2-F8759A612FDA}">
      <dsp:nvSpPr>
        <dsp:cNvPr id="0" name=""/>
        <dsp:cNvSpPr/>
      </dsp:nvSpPr>
      <dsp:spPr>
        <a:xfrm>
          <a:off x="2" y="0"/>
          <a:ext cx="8625642" cy="1715345"/>
        </a:xfrm>
        <a:prstGeom prst="rightArrow">
          <a:avLst/>
        </a:prstGeom>
        <a:solidFill>
          <a:schemeClr val="accent6">
            <a:lumMod val="20000"/>
            <a:lumOff val="80000"/>
          </a:schemeClr>
        </a:solidFill>
        <a:ln>
          <a:solidFill>
            <a:schemeClr val="accent2">
              <a:shade val="80000"/>
              <a:hueOff val="0"/>
              <a:satOff val="0"/>
              <a:lumOff val="0"/>
            </a:schemeClr>
          </a:solidFill>
        </a:ln>
        <a:effectLst/>
      </dsp:spPr>
      <dsp:style>
        <a:lnRef idx="0">
          <a:scrgbClr r="0" g="0" b="0"/>
        </a:lnRef>
        <a:fillRef idx="1">
          <a:scrgbClr r="0" g="0" b="0"/>
        </a:fillRef>
        <a:effectRef idx="0">
          <a:scrgbClr r="0" g="0" b="0"/>
        </a:effectRef>
        <a:fontRef idx="minor"/>
      </dsp:style>
    </dsp:sp>
    <dsp:sp modelId="{BBFAAC6D-FD60-B148-8D26-8E5C0A659A16}">
      <dsp:nvSpPr>
        <dsp:cNvPr id="0" name=""/>
        <dsp:cNvSpPr/>
      </dsp:nvSpPr>
      <dsp:spPr>
        <a:xfrm>
          <a:off x="263" y="514603"/>
          <a:ext cx="1652582" cy="6861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Define Medical Need</a:t>
          </a:r>
        </a:p>
      </dsp:txBody>
      <dsp:txXfrm>
        <a:off x="33757" y="548097"/>
        <a:ext cx="1585594" cy="619150"/>
      </dsp:txXfrm>
    </dsp:sp>
    <dsp:sp modelId="{70CBB8A7-A7CB-C648-875A-814935ED134D}">
      <dsp:nvSpPr>
        <dsp:cNvPr id="0" name=""/>
        <dsp:cNvSpPr/>
      </dsp:nvSpPr>
      <dsp:spPr>
        <a:xfrm>
          <a:off x="1743397" y="514603"/>
          <a:ext cx="1652582" cy="6861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Product Development</a:t>
          </a:r>
        </a:p>
      </dsp:txBody>
      <dsp:txXfrm>
        <a:off x="1776891" y="548097"/>
        <a:ext cx="1585594" cy="619150"/>
      </dsp:txXfrm>
    </dsp:sp>
    <dsp:sp modelId="{CA6C1885-BFF3-204E-93FF-9770F3D98F44}">
      <dsp:nvSpPr>
        <dsp:cNvPr id="0" name=""/>
        <dsp:cNvSpPr/>
      </dsp:nvSpPr>
      <dsp:spPr>
        <a:xfrm>
          <a:off x="3486532" y="514603"/>
          <a:ext cx="1652582" cy="68613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Regulatory Submission / Clearance</a:t>
          </a:r>
        </a:p>
      </dsp:txBody>
      <dsp:txXfrm>
        <a:off x="3520026" y="548097"/>
        <a:ext cx="1585594" cy="619150"/>
      </dsp:txXfrm>
    </dsp:sp>
    <dsp:sp modelId="{75ED8104-F32D-AB44-B3F1-5A6BB9D1F0A0}">
      <dsp:nvSpPr>
        <dsp:cNvPr id="0" name=""/>
        <dsp:cNvSpPr/>
      </dsp:nvSpPr>
      <dsp:spPr>
        <a:xfrm>
          <a:off x="5192144" y="363879"/>
          <a:ext cx="1652582" cy="4516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Develop Clinical Footprint / Industry Education</a:t>
          </a:r>
        </a:p>
      </dsp:txBody>
      <dsp:txXfrm>
        <a:off x="5214194" y="385929"/>
        <a:ext cx="1608482" cy="407598"/>
      </dsp:txXfrm>
    </dsp:sp>
    <dsp:sp modelId="{D0AD75D8-AE3E-4743-937C-93E918F49C7F}">
      <dsp:nvSpPr>
        <dsp:cNvPr id="0" name=""/>
        <dsp:cNvSpPr/>
      </dsp:nvSpPr>
      <dsp:spPr>
        <a:xfrm>
          <a:off x="5187523" y="908062"/>
          <a:ext cx="1652582" cy="451698"/>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Sales</a:t>
          </a:r>
        </a:p>
      </dsp:txBody>
      <dsp:txXfrm>
        <a:off x="5209573" y="930112"/>
        <a:ext cx="1608482" cy="407598"/>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F561C9B-2C28-497C-85A0-FECCA4F48579}" type="datetimeFigureOut">
              <a:rPr lang="en-US" smtClean="0"/>
              <a:t>5/20/20</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FA8F4E2-F30F-4166-9659-F1E7832E9D6F}" type="slidenum">
              <a:rPr lang="en-US" smtClean="0"/>
              <a:t>‹#›</a:t>
            </a:fld>
            <a:endParaRPr lang="en-US" dirty="0"/>
          </a:p>
        </p:txBody>
      </p:sp>
    </p:spTree>
    <p:extLst>
      <p:ext uri="{BB962C8B-B14F-4D97-AF65-F5344CB8AC3E}">
        <p14:creationId xmlns:p14="http://schemas.microsoft.com/office/powerpoint/2010/main" val="10795458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216939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23459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A8F4E2-F30F-4166-9659-F1E7832E9D6F}" type="slidenum">
              <a:rPr lang="en-US" smtClean="0"/>
              <a:t>5</a:t>
            </a:fld>
            <a:endParaRPr lang="en-US" dirty="0"/>
          </a:p>
        </p:txBody>
      </p:sp>
    </p:spTree>
    <p:extLst>
      <p:ext uri="{BB962C8B-B14F-4D97-AF65-F5344CB8AC3E}">
        <p14:creationId xmlns:p14="http://schemas.microsoft.com/office/powerpoint/2010/main" val="1570637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1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062417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defTabSz="931774" eaLnBrk="0" fontAlgn="base" hangingPunct="0">
              <a:spcBef>
                <a:spcPct val="30000"/>
              </a:spcBef>
              <a:spcAft>
                <a:spcPct val="0"/>
              </a:spcAft>
              <a:defRPr/>
            </a:pPr>
            <a:endParaRPr lang="en-US" dirty="0">
              <a:solidFill>
                <a:srgbClr val="000000"/>
              </a:solidFill>
              <a:latin typeface="Arial" charset="0"/>
              <a:ea typeface="MS PGothic" pitchFamily="34" charset="-128"/>
            </a:endParaRPr>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21705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defTabSz="931774" eaLnBrk="0" fontAlgn="base" hangingPunct="0">
              <a:spcBef>
                <a:spcPct val="30000"/>
              </a:spcBef>
              <a:spcAft>
                <a:spcPct val="0"/>
              </a:spcAft>
              <a:defRPr/>
            </a:pPr>
            <a:endParaRPr lang="en-US" dirty="0">
              <a:solidFill>
                <a:srgbClr val="000000"/>
              </a:solidFill>
              <a:latin typeface="Arial" charset="0"/>
              <a:ea typeface="MS PGothic" pitchFamily="34" charset="-128"/>
            </a:endParaRPr>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1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11701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defTabSz="931774">
              <a:defRPr/>
            </a:pPr>
            <a:endParaRPr lang="en-US" dirty="0">
              <a:latin typeface="Trebuchet MS" panose="020B0603020202020204" pitchFamily="34" charset="0"/>
            </a:endParaRPr>
          </a:p>
        </p:txBody>
      </p:sp>
      <p:sp>
        <p:nvSpPr>
          <p:cNvPr id="4" name="Slide Number Placeholder 3"/>
          <p:cNvSpPr>
            <a:spLocks noGrp="1"/>
          </p:cNvSpPr>
          <p:nvPr>
            <p:ph type="sldNum" sz="quarter" idx="5"/>
          </p:nvPr>
        </p:nvSpPr>
        <p:spPr/>
        <p:txBody>
          <a:bodyPr/>
          <a:lstStyle/>
          <a:p>
            <a:pPr defTabSz="931774">
              <a:defRPr/>
            </a:pPr>
            <a:fld id="{CFA8F4E2-F30F-4166-9659-F1E7832E9D6F}" type="slidenum">
              <a:rPr lang="en-US">
                <a:solidFill>
                  <a:prstClr val="black"/>
                </a:solidFill>
                <a:latin typeface="Calibri" panose="020F0502020204030204"/>
              </a:rPr>
              <a:pPr defTabSz="931774">
                <a:defRPr/>
              </a:pPr>
              <a:t>1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6004721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2.xml"/><Relationship Id="rId7" Type="http://schemas.openxmlformats.org/officeDocument/2006/relationships/image" Target="../media/image2.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 Id="rId9"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4.xml"/><Relationship Id="rId7" Type="http://schemas.openxmlformats.org/officeDocument/2006/relationships/image" Target="../media/image3.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28.xml"/><Relationship Id="rId7" Type="http://schemas.openxmlformats.org/officeDocument/2006/relationships/image" Target="../media/image3.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0.xml"/><Relationship Id="rId7" Type="http://schemas.openxmlformats.org/officeDocument/2006/relationships/image" Target="../media/image3.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2.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4.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 Id="rId9" Type="http://schemas.openxmlformats.org/officeDocument/2006/relationships/image" Target="../media/image11.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36.xml"/><Relationship Id="rId7" Type="http://schemas.openxmlformats.org/officeDocument/2006/relationships/image" Target="../media/image3.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40.xml"/><Relationship Id="rId7" Type="http://schemas.openxmlformats.org/officeDocument/2006/relationships/image" Target="../media/image14.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7.svg"/><Relationship Id="rId4" Type="http://schemas.openxmlformats.org/officeDocument/2006/relationships/slideMaster" Target="../slideMasters/slideMaster1.xml"/><Relationship Id="rId9"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42.xml"/><Relationship Id="rId7" Type="http://schemas.openxmlformats.org/officeDocument/2006/relationships/image" Target="../media/image14.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image" Target="../media/image17.svg"/><Relationship Id="rId4" Type="http://schemas.openxmlformats.org/officeDocument/2006/relationships/slideMaster" Target="../slideMasters/slideMaster1.xml"/><Relationship Id="rId9" Type="http://schemas.openxmlformats.org/officeDocument/2006/relationships/image" Target="../media/image16.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4.xml"/><Relationship Id="rId7" Type="http://schemas.openxmlformats.org/officeDocument/2006/relationships/image" Target="../media/image3.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6.xml"/><Relationship Id="rId7" Type="http://schemas.openxmlformats.org/officeDocument/2006/relationships/image" Target="../media/image2.jpe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8.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50.xml"/><Relationship Id="rId7" Type="http://schemas.openxmlformats.org/officeDocument/2006/relationships/image" Target="../media/image5.png"/><Relationship Id="rId12" Type="http://schemas.openxmlformats.org/officeDocument/2006/relationships/image" Target="../media/image4.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3.png"/><Relationship Id="rId5" Type="http://schemas.openxmlformats.org/officeDocument/2006/relationships/oleObject" Target="../embeddings/oleObject4.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4.xml"/><Relationship Id="rId7" Type="http://schemas.openxmlformats.org/officeDocument/2006/relationships/image" Target="../media/image3.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6.xml"/><Relationship Id="rId7" Type="http://schemas.openxmlformats.org/officeDocument/2006/relationships/image" Target="../media/image2.jpe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8.xml"/><Relationship Id="rId7" Type="http://schemas.openxmlformats.org/officeDocument/2006/relationships/image" Target="../media/image2.jpe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9.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8.xml"/><Relationship Id="rId7" Type="http://schemas.openxmlformats.org/officeDocument/2006/relationships/image" Target="../media/image5.png"/><Relationship Id="rId12"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3.png"/><Relationship Id="rId5" Type="http://schemas.openxmlformats.org/officeDocument/2006/relationships/oleObject" Target="../embeddings/oleObject4.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0.xml"/><Relationship Id="rId7" Type="http://schemas.openxmlformats.org/officeDocument/2006/relationships/image" Target="../media/image2.jpe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2.xml"/><Relationship Id="rId7" Type="http://schemas.openxmlformats.org/officeDocument/2006/relationships/image" Target="../media/image2.jpe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4.xml"/><Relationship Id="rId7" Type="http://schemas.openxmlformats.org/officeDocument/2006/relationships/image" Target="../media/image2.jpe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 Id="rId9"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66.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68.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70.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72.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 Id="rId9" Type="http://schemas.openxmlformats.org/officeDocument/2006/relationships/image" Target="../media/image11.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76.xml"/><Relationship Id="rId7" Type="http://schemas.openxmlformats.org/officeDocument/2006/relationships/image" Target="../media/image3.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78.xml"/><Relationship Id="rId7" Type="http://schemas.openxmlformats.org/officeDocument/2006/relationships/image" Target="../media/image12.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4.svg"/><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2.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6.xml"/><Relationship Id="rId7" Type="http://schemas.openxmlformats.org/officeDocument/2006/relationships/image" Target="../media/image2.jpe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image" Target="../media/image2.jpe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11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9" name="Picture 34" descr="https://www.nephros.com/wp-content/uploads/2016/09/Dialysis-Filter.jpg">
            <a:extLst>
              <a:ext uri="{FF2B5EF4-FFF2-40B4-BE49-F238E27FC236}">
                <a16:creationId xmlns:a16="http://schemas.microsoft.com/office/drawing/2014/main" id="{21319731-7DFE-4C32-A997-AB078433882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12850A3-3559-41AF-AF84-BB0A253FFE50}"/>
              </a:ext>
            </a:extLst>
          </p:cNvPr>
          <p:cNvSpPr/>
          <p:nvPr userDrawn="1"/>
        </p:nvSpPr>
        <p:spPr>
          <a:xfrm>
            <a:off x="2" y="0"/>
            <a:ext cx="334050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a:extLst>
              <a:ext uri="{FF2B5EF4-FFF2-40B4-BE49-F238E27FC236}">
                <a16:creationId xmlns:a16="http://schemas.microsoft.com/office/drawing/2014/main" id="{77498B78-179E-4F7A-BCE5-6757D8AF3021}"/>
              </a:ext>
            </a:extLst>
          </p:cNvPr>
          <p:cNvSpPr/>
          <p:nvPr userDrawn="1"/>
        </p:nvSpPr>
        <p:spPr>
          <a:xfrm>
            <a:off x="225316" y="4914905"/>
            <a:ext cx="2868158" cy="1948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a:extLst>
              <a:ext uri="{FF2B5EF4-FFF2-40B4-BE49-F238E27FC236}">
                <a16:creationId xmlns:a16="http://schemas.microsoft.com/office/drawing/2014/main" id="{691FA014-9CB4-4E81-A6A2-20DDB11EC241}"/>
              </a:ext>
            </a:extLst>
          </p:cNvPr>
          <p:cNvSpPr/>
          <p:nvPr userDrawn="1"/>
        </p:nvSpPr>
        <p:spPr>
          <a:xfrm>
            <a:off x="225316" y="0"/>
            <a:ext cx="2868158"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7" name="Graphic 16">
            <a:extLst>
              <a:ext uri="{FF2B5EF4-FFF2-40B4-BE49-F238E27FC236}">
                <a16:creationId xmlns:a16="http://schemas.microsoft.com/office/drawing/2014/main" id="{E5CEFA80-29A2-4852-A79F-6B7373B33F1E}"/>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520102" y="5332438"/>
            <a:ext cx="2278586" cy="1113312"/>
          </a:xfrm>
          <a:prstGeom prst="rect">
            <a:avLst/>
          </a:prstGeom>
        </p:spPr>
      </p:pic>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94026" y="2592393"/>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94026" y="568369"/>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94026" y="3486071"/>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194026" y="4324355"/>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Tree>
    <p:extLst>
      <p:ext uri="{BB962C8B-B14F-4D97-AF65-F5344CB8AC3E}">
        <p14:creationId xmlns:p14="http://schemas.microsoft.com/office/powerpoint/2010/main" val="2797884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133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A6E0BEC0-ACE3-4CAB-A70F-A43D3C6E8242}"/>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72" r="6768"/>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1604F21D-B0B7-4627-936F-E31155B45F6F}"/>
              </a:ext>
            </a:extLst>
          </p:cNvPr>
          <p:cNvSpPr/>
          <p:nvPr userDrawn="1"/>
        </p:nvSpPr>
        <p:spPr>
          <a:xfrm>
            <a:off x="0" y="0"/>
            <a:ext cx="6836310" cy="6858000"/>
          </a:xfrm>
          <a:custGeom>
            <a:avLst/>
            <a:gdLst>
              <a:gd name="connsiteX0" fmla="*/ 8790614 w 9115080"/>
              <a:gd name="connsiteY0" fmla="*/ 0 h 6858000"/>
              <a:gd name="connsiteX1" fmla="*/ 9115080 w 9115080"/>
              <a:gd name="connsiteY1" fmla="*/ 0 h 6858000"/>
              <a:gd name="connsiteX2" fmla="*/ 9061198 w 9115080"/>
              <a:gd name="connsiteY2" fmla="*/ 14030 h 6858000"/>
              <a:gd name="connsiteX3" fmla="*/ 7648699 w 9115080"/>
              <a:gd name="connsiteY3" fmla="*/ 545064 h 6858000"/>
              <a:gd name="connsiteX4" fmla="*/ 3970229 w 9115080"/>
              <a:gd name="connsiteY4" fmla="*/ 6811065 h 6858000"/>
              <a:gd name="connsiteX5" fmla="*/ 3994785 w 9115080"/>
              <a:gd name="connsiteY5" fmla="*/ 6858000 h 6858000"/>
              <a:gd name="connsiteX6" fmla="*/ 3670319 w 9115080"/>
              <a:gd name="connsiteY6" fmla="*/ 6858000 h 6858000"/>
              <a:gd name="connsiteX7" fmla="*/ 3645763 w 9115080"/>
              <a:gd name="connsiteY7" fmla="*/ 6811065 h 6858000"/>
              <a:gd name="connsiteX8" fmla="*/ 7324234 w 9115080"/>
              <a:gd name="connsiteY8" fmla="*/ 545064 h 6858000"/>
              <a:gd name="connsiteX9" fmla="*/ 8736732 w 9115080"/>
              <a:gd name="connsiteY9" fmla="*/ 14030 h 6858000"/>
              <a:gd name="connsiteX10" fmla="*/ 0 w 9115080"/>
              <a:gd name="connsiteY10" fmla="*/ 0 h 6858000"/>
              <a:gd name="connsiteX11" fmla="*/ 1 w 9115080"/>
              <a:gd name="connsiteY11" fmla="*/ 0 h 6858000"/>
              <a:gd name="connsiteX12" fmla="*/ 1 w 9115080"/>
              <a:gd name="connsiteY12" fmla="*/ 6858000 h 6858000"/>
              <a:gd name="connsiteX13" fmla="*/ 0 w 911508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5080" h="6858000">
                <a:moveTo>
                  <a:pt x="8790614" y="0"/>
                </a:moveTo>
                <a:lnTo>
                  <a:pt x="9115080" y="0"/>
                </a:lnTo>
                <a:lnTo>
                  <a:pt x="9061198" y="14030"/>
                </a:lnTo>
                <a:cubicBezTo>
                  <a:pt x="8591342" y="145184"/>
                  <a:pt x="8117374" y="321720"/>
                  <a:pt x="7648699" y="545064"/>
                </a:cubicBezTo>
                <a:cubicBezTo>
                  <a:pt x="4649175" y="1974467"/>
                  <a:pt x="3002267" y="4779851"/>
                  <a:pt x="3970229" y="6811065"/>
                </a:cubicBezTo>
                <a:lnTo>
                  <a:pt x="3994785" y="6858000"/>
                </a:lnTo>
                <a:lnTo>
                  <a:pt x="3670319" y="6858000"/>
                </a:lnTo>
                <a:lnTo>
                  <a:pt x="3645763" y="6811065"/>
                </a:lnTo>
                <a:cubicBezTo>
                  <a:pt x="2677802" y="4779851"/>
                  <a:pt x="4324709" y="1974467"/>
                  <a:pt x="7324234" y="545064"/>
                </a:cubicBezTo>
                <a:cubicBezTo>
                  <a:pt x="7792909" y="321720"/>
                  <a:pt x="8266876" y="145184"/>
                  <a:pt x="8736732" y="14030"/>
                </a:cubicBezTo>
                <a:close/>
                <a:moveTo>
                  <a:pt x="0" y="0"/>
                </a:moveTo>
                <a:lnTo>
                  <a:pt x="1" y="0"/>
                </a:lnTo>
                <a:lnTo>
                  <a:pt x="1" y="6858000"/>
                </a:lnTo>
                <a:lnTo>
                  <a:pt x="0" y="6858000"/>
                </a:lnTo>
                <a:close/>
              </a:path>
            </a:pathLst>
          </a:custGeom>
          <a:solidFill>
            <a:schemeClr val="accent2">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Freeform: Shape 16">
            <a:extLst>
              <a:ext uri="{FF2B5EF4-FFF2-40B4-BE49-F238E27FC236}">
                <a16:creationId xmlns:a16="http://schemas.microsoft.com/office/drawing/2014/main" id="{08FCA40B-19FB-416D-BAEC-1ECF91A2BC64}"/>
              </a:ext>
            </a:extLst>
          </p:cNvPr>
          <p:cNvSpPr/>
          <p:nvPr userDrawn="1"/>
        </p:nvSpPr>
        <p:spPr>
          <a:xfrm>
            <a:off x="0" y="0"/>
            <a:ext cx="6592960" cy="6858000"/>
          </a:xfrm>
          <a:custGeom>
            <a:avLst/>
            <a:gdLst>
              <a:gd name="connsiteX0" fmla="*/ 0 w 8790613"/>
              <a:gd name="connsiteY0" fmla="*/ 0 h 6858000"/>
              <a:gd name="connsiteX1" fmla="*/ 8790613 w 8790613"/>
              <a:gd name="connsiteY1" fmla="*/ 0 h 6858000"/>
              <a:gd name="connsiteX2" fmla="*/ 8736731 w 8790613"/>
              <a:gd name="connsiteY2" fmla="*/ 14030 h 6858000"/>
              <a:gd name="connsiteX3" fmla="*/ 7324232 w 8790613"/>
              <a:gd name="connsiteY3" fmla="*/ 545064 h 6858000"/>
              <a:gd name="connsiteX4" fmla="*/ 3645762 w 8790613"/>
              <a:gd name="connsiteY4" fmla="*/ 6811065 h 6858000"/>
              <a:gd name="connsiteX5" fmla="*/ 3670318 w 8790613"/>
              <a:gd name="connsiteY5" fmla="*/ 6858000 h 6858000"/>
              <a:gd name="connsiteX6" fmla="*/ 0 w 879061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0613" h="6858000">
                <a:moveTo>
                  <a:pt x="0" y="0"/>
                </a:moveTo>
                <a:lnTo>
                  <a:pt x="8790613" y="0"/>
                </a:lnTo>
                <a:lnTo>
                  <a:pt x="8736731" y="14030"/>
                </a:lnTo>
                <a:cubicBezTo>
                  <a:pt x="8266875" y="145184"/>
                  <a:pt x="7792908" y="321720"/>
                  <a:pt x="7324232" y="545064"/>
                </a:cubicBezTo>
                <a:cubicBezTo>
                  <a:pt x="4324708" y="1974467"/>
                  <a:pt x="2677801" y="4779851"/>
                  <a:pt x="3645762" y="6811065"/>
                </a:cubicBezTo>
                <a:lnTo>
                  <a:pt x="3670318" y="6858000"/>
                </a:lnTo>
                <a:lnTo>
                  <a:pt x="0" y="6858000"/>
                </a:lnTo>
                <a:close/>
              </a:path>
            </a:pathLst>
          </a:cu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Freeform: Shape 17">
            <a:extLst>
              <a:ext uri="{FF2B5EF4-FFF2-40B4-BE49-F238E27FC236}">
                <a16:creationId xmlns:a16="http://schemas.microsoft.com/office/drawing/2014/main" id="{3840ECB1-834C-4663-915B-87256E40B7B5}"/>
              </a:ext>
            </a:extLst>
          </p:cNvPr>
          <p:cNvSpPr/>
          <p:nvPr userDrawn="1"/>
        </p:nvSpPr>
        <p:spPr>
          <a:xfrm>
            <a:off x="1" y="0"/>
            <a:ext cx="7079660" cy="6858000"/>
          </a:xfrm>
          <a:custGeom>
            <a:avLst/>
            <a:gdLst>
              <a:gd name="connsiteX0" fmla="*/ 8790614 w 9439547"/>
              <a:gd name="connsiteY0" fmla="*/ 0 h 6858000"/>
              <a:gd name="connsiteX1" fmla="*/ 9439547 w 9439547"/>
              <a:gd name="connsiteY1" fmla="*/ 0 h 6858000"/>
              <a:gd name="connsiteX2" fmla="*/ 9385665 w 9439547"/>
              <a:gd name="connsiteY2" fmla="*/ 14030 h 6858000"/>
              <a:gd name="connsiteX3" fmla="*/ 7973166 w 9439547"/>
              <a:gd name="connsiteY3" fmla="*/ 545064 h 6858000"/>
              <a:gd name="connsiteX4" fmla="*/ 4294696 w 9439547"/>
              <a:gd name="connsiteY4" fmla="*/ 6811065 h 6858000"/>
              <a:gd name="connsiteX5" fmla="*/ 4319252 w 9439547"/>
              <a:gd name="connsiteY5" fmla="*/ 6858000 h 6858000"/>
              <a:gd name="connsiteX6" fmla="*/ 3670319 w 9439547"/>
              <a:gd name="connsiteY6" fmla="*/ 6858000 h 6858000"/>
              <a:gd name="connsiteX7" fmla="*/ 3645763 w 9439547"/>
              <a:gd name="connsiteY7" fmla="*/ 6811065 h 6858000"/>
              <a:gd name="connsiteX8" fmla="*/ 7324233 w 9439547"/>
              <a:gd name="connsiteY8" fmla="*/ 545064 h 6858000"/>
              <a:gd name="connsiteX9" fmla="*/ 8736732 w 9439547"/>
              <a:gd name="connsiteY9" fmla="*/ 14030 h 6858000"/>
              <a:gd name="connsiteX10" fmla="*/ 0 w 9439547"/>
              <a:gd name="connsiteY10" fmla="*/ 0 h 6858000"/>
              <a:gd name="connsiteX11" fmla="*/ 1 w 9439547"/>
              <a:gd name="connsiteY11" fmla="*/ 0 h 6858000"/>
              <a:gd name="connsiteX12" fmla="*/ 1 w 9439547"/>
              <a:gd name="connsiteY12" fmla="*/ 6858000 h 6858000"/>
              <a:gd name="connsiteX13" fmla="*/ 0 w 9439547"/>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39547" h="6858000">
                <a:moveTo>
                  <a:pt x="8790614" y="0"/>
                </a:moveTo>
                <a:lnTo>
                  <a:pt x="9439547" y="0"/>
                </a:lnTo>
                <a:lnTo>
                  <a:pt x="9385665" y="14030"/>
                </a:lnTo>
                <a:cubicBezTo>
                  <a:pt x="8915809" y="145184"/>
                  <a:pt x="8441841" y="321720"/>
                  <a:pt x="7973166" y="545064"/>
                </a:cubicBezTo>
                <a:cubicBezTo>
                  <a:pt x="4973642" y="1974467"/>
                  <a:pt x="3326735" y="4779851"/>
                  <a:pt x="4294696" y="6811065"/>
                </a:cubicBezTo>
                <a:lnTo>
                  <a:pt x="4319252" y="6858000"/>
                </a:lnTo>
                <a:lnTo>
                  <a:pt x="3670319" y="6858000"/>
                </a:lnTo>
                <a:lnTo>
                  <a:pt x="3645763" y="6811065"/>
                </a:lnTo>
                <a:cubicBezTo>
                  <a:pt x="2677802" y="4779851"/>
                  <a:pt x="4324709" y="1974467"/>
                  <a:pt x="7324233" y="545064"/>
                </a:cubicBezTo>
                <a:cubicBezTo>
                  <a:pt x="7792909" y="321720"/>
                  <a:pt x="8266876" y="145184"/>
                  <a:pt x="8736732" y="14030"/>
                </a:cubicBezTo>
                <a:close/>
                <a:moveTo>
                  <a:pt x="0" y="0"/>
                </a:moveTo>
                <a:lnTo>
                  <a:pt x="1" y="0"/>
                </a:lnTo>
                <a:lnTo>
                  <a:pt x="1" y="6858000"/>
                </a:lnTo>
                <a:lnTo>
                  <a:pt x="0" y="6858000"/>
                </a:lnTo>
                <a:close/>
              </a:path>
            </a:pathLst>
          </a:custGeom>
          <a:solidFill>
            <a:schemeClr val="accent2">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9" name="Graphic 18">
            <a:extLst>
              <a:ext uri="{FF2B5EF4-FFF2-40B4-BE49-F238E27FC236}">
                <a16:creationId xmlns:a16="http://schemas.microsoft.com/office/drawing/2014/main" id="{406C0B17-B753-4AD8-9036-3DB4FBA52E5E}"/>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418746" y="5872570"/>
            <a:ext cx="1374826" cy="671736"/>
          </a:xfrm>
          <a:prstGeom prst="rect">
            <a:avLst/>
          </a:prstGeom>
        </p:spPr>
      </p:pic>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234460" y="510053"/>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234460" y="1993751"/>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234460" y="2701852"/>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234460" y="3409949"/>
            <a:ext cx="2022968" cy="9971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32460335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235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Calibri Bold" panose="020F0702030404030204" pitchFamily="34" charset="0"/>
              <a:ea typeface="+mj-ea"/>
              <a:cs typeface="+mj-cs"/>
              <a:sym typeface="Calibri Bold" panose="020F0702030404030204" pitchFamily="34" charset="0"/>
            </a:endParaRPr>
          </a:p>
        </p:txBody>
      </p:sp>
      <p:sp>
        <p:nvSpPr>
          <p:cNvPr id="3" name="Rectangle 2">
            <a:extLst>
              <a:ext uri="{FF2B5EF4-FFF2-40B4-BE49-F238E27FC236}">
                <a16:creationId xmlns:a16="http://schemas.microsoft.com/office/drawing/2014/main" id="{D010CB69-EFC2-40AF-ACF7-A52A9AF5A7F3}"/>
              </a:ext>
            </a:extLst>
          </p:cNvPr>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4142826" y="-87331"/>
            <a:ext cx="4758289" cy="2492990"/>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r">
              <a:defRPr lang="en-US" sz="6000" dirty="0">
                <a:solidFill>
                  <a:schemeClr val="bg1"/>
                </a:solidFill>
              </a:defRPr>
            </a:lvl1pPr>
          </a:lstStyle>
          <a:p>
            <a:pPr marL="0" lvl="0">
              <a:spcBef>
                <a:spcPts val="0"/>
              </a:spcBef>
            </a:pPr>
            <a:r>
              <a:rPr lang="en-US"/>
              <a:t>Click to edit Master title style</a:t>
            </a:r>
            <a:endParaRPr lang="en-US" dirty="0"/>
          </a:p>
        </p:txBody>
      </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lum bright="10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7500939" y="6038440"/>
            <a:ext cx="1343578" cy="656468"/>
          </a:xfrm>
          <a:prstGeom prst="rect">
            <a:avLst/>
          </a:prstGeom>
        </p:spPr>
      </p:pic>
      <p:sp>
        <p:nvSpPr>
          <p:cNvPr id="23" name="Freeform: Shape 22">
            <a:extLst>
              <a:ext uri="{FF2B5EF4-FFF2-40B4-BE49-F238E27FC236}">
                <a16:creationId xmlns:a16="http://schemas.microsoft.com/office/drawing/2014/main" id="{1AA74B1E-A992-4C66-B743-B55BFEE3683B}"/>
              </a:ext>
            </a:extLst>
          </p:cNvPr>
          <p:cNvSpPr/>
          <p:nvPr userDrawn="1"/>
        </p:nvSpPr>
        <p:spPr>
          <a:xfrm rot="1160032">
            <a:off x="-879713" y="414719"/>
            <a:ext cx="3809127" cy="6721852"/>
          </a:xfrm>
          <a:custGeom>
            <a:avLst/>
            <a:gdLst>
              <a:gd name="connsiteX0" fmla="*/ 0 w 5078836"/>
              <a:gd name="connsiteY0" fmla="*/ 250607 h 6721852"/>
              <a:gd name="connsiteX1" fmla="*/ 714268 w 5078836"/>
              <a:gd name="connsiteY1" fmla="*/ 0 h 6721852"/>
              <a:gd name="connsiteX2" fmla="*/ 5060629 w 5078836"/>
              <a:gd name="connsiteY2" fmla="*/ 0 h 6721852"/>
              <a:gd name="connsiteX3" fmla="*/ 5078836 w 5078836"/>
              <a:gd name="connsiteY3" fmla="*/ 5736520 h 6721852"/>
              <a:gd name="connsiteX4" fmla="*/ 2270493 w 5078836"/>
              <a:gd name="connsiteY4" fmla="*/ 6721852 h 6721852"/>
              <a:gd name="connsiteX5" fmla="*/ 2161668 w 5078836"/>
              <a:gd name="connsiteY5" fmla="*/ 6411686 h 6721852"/>
              <a:gd name="connsiteX6" fmla="*/ 2292260 w 5078836"/>
              <a:gd name="connsiteY6" fmla="*/ 6411686 h 6721852"/>
              <a:gd name="connsiteX7" fmla="*/ 2691403 w 5078836"/>
              <a:gd name="connsiteY7" fmla="*/ 6012543 h 6721852"/>
              <a:gd name="connsiteX8" fmla="*/ 2292260 w 5078836"/>
              <a:gd name="connsiteY8" fmla="*/ 5613400 h 6721852"/>
              <a:gd name="connsiteX9" fmla="*/ 1881582 w 5078836"/>
              <a:gd name="connsiteY9" fmla="*/ 5613400 h 6721852"/>
              <a:gd name="connsiteX10" fmla="*/ 1708438 w 5078836"/>
              <a:gd name="connsiteY10" fmla="*/ 5119914 h 6721852"/>
              <a:gd name="connsiteX11" fmla="*/ 3045085 w 5078836"/>
              <a:gd name="connsiteY11" fmla="*/ 5119914 h 6721852"/>
              <a:gd name="connsiteX12" fmla="*/ 3444228 w 5078836"/>
              <a:gd name="connsiteY12" fmla="*/ 4720771 h 6721852"/>
              <a:gd name="connsiteX13" fmla="*/ 3045085 w 5078836"/>
              <a:gd name="connsiteY13" fmla="*/ 4321628 h 6721852"/>
              <a:gd name="connsiteX14" fmla="*/ 1428352 w 5078836"/>
              <a:gd name="connsiteY14" fmla="*/ 4321628 h 6721852"/>
              <a:gd name="connsiteX15" fmla="*/ 1255209 w 5078836"/>
              <a:gd name="connsiteY15" fmla="*/ 3828143 h 6721852"/>
              <a:gd name="connsiteX16" fmla="*/ 3959485 w 5078836"/>
              <a:gd name="connsiteY16" fmla="*/ 3828143 h 6721852"/>
              <a:gd name="connsiteX17" fmla="*/ 4358628 w 5078836"/>
              <a:gd name="connsiteY17" fmla="*/ 3429000 h 6721852"/>
              <a:gd name="connsiteX18" fmla="*/ 3959485 w 5078836"/>
              <a:gd name="connsiteY18" fmla="*/ 3029857 h 6721852"/>
              <a:gd name="connsiteX19" fmla="*/ 975123 w 5078836"/>
              <a:gd name="connsiteY19" fmla="*/ 3029857 h 6721852"/>
              <a:gd name="connsiteX20" fmla="*/ 801980 w 5078836"/>
              <a:gd name="connsiteY20" fmla="*/ 2536372 h 6721852"/>
              <a:gd name="connsiteX21" fmla="*/ 3045085 w 5078836"/>
              <a:gd name="connsiteY21" fmla="*/ 2536372 h 6721852"/>
              <a:gd name="connsiteX22" fmla="*/ 3444228 w 5078836"/>
              <a:gd name="connsiteY22" fmla="*/ 2137229 h 6721852"/>
              <a:gd name="connsiteX23" fmla="*/ 3045085 w 5078836"/>
              <a:gd name="connsiteY23" fmla="*/ 1738086 h 6721852"/>
              <a:gd name="connsiteX24" fmla="*/ 521894 w 5078836"/>
              <a:gd name="connsiteY24" fmla="*/ 1738086 h 6721852"/>
              <a:gd name="connsiteX25" fmla="*/ 348751 w 5078836"/>
              <a:gd name="connsiteY25" fmla="*/ 1244601 h 6721852"/>
              <a:gd name="connsiteX26" fmla="*/ 2292260 w 5078836"/>
              <a:gd name="connsiteY26" fmla="*/ 1244601 h 6721852"/>
              <a:gd name="connsiteX27" fmla="*/ 2691403 w 5078836"/>
              <a:gd name="connsiteY27" fmla="*/ 845458 h 6721852"/>
              <a:gd name="connsiteX28" fmla="*/ 2292260 w 5078836"/>
              <a:gd name="connsiteY28" fmla="*/ 446315 h 6721852"/>
              <a:gd name="connsiteX29" fmla="*/ 68665 w 5078836"/>
              <a:gd name="connsiteY29" fmla="*/ 446315 h 672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78836" h="6721852">
                <a:moveTo>
                  <a:pt x="0" y="250607"/>
                </a:moveTo>
                <a:lnTo>
                  <a:pt x="714268" y="0"/>
                </a:lnTo>
                <a:lnTo>
                  <a:pt x="5060629" y="0"/>
                </a:lnTo>
                <a:lnTo>
                  <a:pt x="5078836" y="5736520"/>
                </a:lnTo>
                <a:lnTo>
                  <a:pt x="2270493" y="6721852"/>
                </a:lnTo>
                <a:lnTo>
                  <a:pt x="2161668" y="6411686"/>
                </a:lnTo>
                <a:lnTo>
                  <a:pt x="2292260" y="6411686"/>
                </a:lnTo>
                <a:cubicBezTo>
                  <a:pt x="2512701" y="6411686"/>
                  <a:pt x="2691403" y="6232984"/>
                  <a:pt x="2691403" y="6012543"/>
                </a:cubicBezTo>
                <a:cubicBezTo>
                  <a:pt x="2691403" y="5792102"/>
                  <a:pt x="2512701" y="5613400"/>
                  <a:pt x="2292260" y="5613400"/>
                </a:cubicBezTo>
                <a:lnTo>
                  <a:pt x="1881582" y="5613400"/>
                </a:lnTo>
                <a:lnTo>
                  <a:pt x="1708438" y="5119914"/>
                </a:lnTo>
                <a:lnTo>
                  <a:pt x="3045085" y="5119914"/>
                </a:lnTo>
                <a:cubicBezTo>
                  <a:pt x="3265526" y="5119914"/>
                  <a:pt x="3444228" y="4941212"/>
                  <a:pt x="3444228" y="4720771"/>
                </a:cubicBezTo>
                <a:cubicBezTo>
                  <a:pt x="3444228" y="4500330"/>
                  <a:pt x="3265526" y="4321628"/>
                  <a:pt x="3045085" y="4321628"/>
                </a:cubicBezTo>
                <a:lnTo>
                  <a:pt x="1428352" y="4321628"/>
                </a:lnTo>
                <a:lnTo>
                  <a:pt x="1255209" y="3828143"/>
                </a:lnTo>
                <a:lnTo>
                  <a:pt x="3959485" y="3828143"/>
                </a:lnTo>
                <a:cubicBezTo>
                  <a:pt x="4179926" y="3828143"/>
                  <a:pt x="4358628" y="3649441"/>
                  <a:pt x="4358628" y="3429000"/>
                </a:cubicBezTo>
                <a:cubicBezTo>
                  <a:pt x="4358628" y="3208559"/>
                  <a:pt x="4179926" y="3029857"/>
                  <a:pt x="3959485" y="3029857"/>
                </a:cubicBezTo>
                <a:lnTo>
                  <a:pt x="975123" y="3029857"/>
                </a:lnTo>
                <a:lnTo>
                  <a:pt x="801980" y="2536372"/>
                </a:lnTo>
                <a:lnTo>
                  <a:pt x="3045085" y="2536372"/>
                </a:lnTo>
                <a:cubicBezTo>
                  <a:pt x="3265526" y="2536372"/>
                  <a:pt x="3444228" y="2357670"/>
                  <a:pt x="3444228" y="2137229"/>
                </a:cubicBezTo>
                <a:cubicBezTo>
                  <a:pt x="3444228" y="1916788"/>
                  <a:pt x="3265526" y="1738086"/>
                  <a:pt x="3045085" y="1738086"/>
                </a:cubicBezTo>
                <a:lnTo>
                  <a:pt x="521894" y="1738086"/>
                </a:lnTo>
                <a:lnTo>
                  <a:pt x="348751" y="1244601"/>
                </a:lnTo>
                <a:lnTo>
                  <a:pt x="2292260" y="1244601"/>
                </a:lnTo>
                <a:cubicBezTo>
                  <a:pt x="2512701" y="1244601"/>
                  <a:pt x="2691403" y="1065899"/>
                  <a:pt x="2691403" y="845458"/>
                </a:cubicBezTo>
                <a:cubicBezTo>
                  <a:pt x="2691403" y="625017"/>
                  <a:pt x="2512701" y="446315"/>
                  <a:pt x="2292260" y="446315"/>
                </a:cubicBezTo>
                <a:lnTo>
                  <a:pt x="68665" y="44631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TextBox 23">
            <a:extLst>
              <a:ext uri="{FF2B5EF4-FFF2-40B4-BE49-F238E27FC236}">
                <a16:creationId xmlns:a16="http://schemas.microsoft.com/office/drawing/2014/main" id="{4D323E5C-0904-4F7C-B2AF-7B32929C05D8}"/>
              </a:ext>
            </a:extLst>
          </p:cNvPr>
          <p:cNvSpPr txBox="1">
            <a:spLocks/>
          </p:cNvSpPr>
          <p:nvPr userDrawn="1"/>
        </p:nvSpPr>
        <p:spPr>
          <a:xfrm>
            <a:off x="4142826" y="2402573"/>
            <a:ext cx="4758289" cy="615553"/>
          </a:xfrm>
          <a:prstGeom prst="rect">
            <a:avLst/>
          </a:prstGeom>
          <a:noFill/>
        </p:spPr>
        <p:txBody>
          <a:bodyPr wrap="square" lIns="0" tIns="0" rIns="0" bIns="0" rtlCol="0">
            <a:spAutoFit/>
          </a:bodyPr>
          <a:lstStyle>
            <a:defPPr>
              <a:defRPr lang="en-US"/>
            </a:defPPr>
            <a:lvl1pPr>
              <a:defRPr sz="4800" b="1">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lvl1pPr>
          </a:lstStyle>
          <a:p>
            <a:pPr algn="r"/>
            <a:r>
              <a:rPr lang="en-US" sz="4000" dirty="0">
                <a:solidFill>
                  <a:schemeClr val="bg1"/>
                </a:solidFill>
                <a:latin typeface="+mn-lt"/>
              </a:rPr>
              <a:t>Title Text</a:t>
            </a:r>
          </a:p>
        </p:txBody>
      </p:sp>
      <p:sp>
        <p:nvSpPr>
          <p:cNvPr id="25" name="Rectangle 24">
            <a:extLst>
              <a:ext uri="{FF2B5EF4-FFF2-40B4-BE49-F238E27FC236}">
                <a16:creationId xmlns:a16="http://schemas.microsoft.com/office/drawing/2014/main" id="{D10C3BC4-8069-4C9A-881A-20BB4D6C82E6}"/>
              </a:ext>
            </a:extLst>
          </p:cNvPr>
          <p:cNvSpPr/>
          <p:nvPr userDrawn="1"/>
        </p:nvSpPr>
        <p:spPr>
          <a:xfrm>
            <a:off x="7329488" y="3174891"/>
            <a:ext cx="1571625" cy="148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26" name="TextBox 25">
            <a:extLst>
              <a:ext uri="{FF2B5EF4-FFF2-40B4-BE49-F238E27FC236}">
                <a16:creationId xmlns:a16="http://schemas.microsoft.com/office/drawing/2014/main" id="{BAE404A1-9093-47B0-9125-522300D46A12}"/>
              </a:ext>
            </a:extLst>
          </p:cNvPr>
          <p:cNvSpPr txBox="1">
            <a:spLocks/>
          </p:cNvSpPr>
          <p:nvPr userDrawn="1"/>
        </p:nvSpPr>
        <p:spPr>
          <a:xfrm>
            <a:off x="4142826" y="3479687"/>
            <a:ext cx="4758289"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spcBef>
                <a:spcPts val="0"/>
              </a:spcBef>
              <a:spcAft>
                <a:spcPts val="0"/>
              </a:spcAft>
              <a:buClr>
                <a:schemeClr val="bg1"/>
              </a:buClr>
            </a:pPr>
            <a:r>
              <a:rPr lang="en-US" sz="2800" baseline="0" dirty="0">
                <a:solidFill>
                  <a:schemeClr val="bg1"/>
                </a:solidFill>
              </a:rPr>
              <a:t>Sample  Text to be entered here</a:t>
            </a:r>
          </a:p>
        </p:txBody>
      </p:sp>
    </p:spTree>
    <p:extLst>
      <p:ext uri="{BB962C8B-B14F-4D97-AF65-F5344CB8AC3E}">
        <p14:creationId xmlns:p14="http://schemas.microsoft.com/office/powerpoint/2010/main" val="2611417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338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43192067-0EBA-4C72-AD88-9325E1C07BF4}" type="datetime1">
              <a:rPr lang="en-US" smtClean="0"/>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857250" y="1524004"/>
            <a:ext cx="4114800" cy="13849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2000" b="1"/>
            </a:lvl1pPr>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3" name="Picture 22" descr="A picture containing object&#10;&#10;Description automatically generated">
            <a:extLst>
              <a:ext uri="{FF2B5EF4-FFF2-40B4-BE49-F238E27FC236}">
                <a16:creationId xmlns:a16="http://schemas.microsoft.com/office/drawing/2014/main" id="{7AEC3239-3A1F-A74B-91C0-7CF82389F31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618479" y="359735"/>
            <a:ext cx="1269507" cy="371271"/>
          </a:xfrm>
          <a:prstGeom prst="rect">
            <a:avLst/>
          </a:prstGeom>
        </p:spPr>
      </p:pic>
    </p:spTree>
    <p:extLst>
      <p:ext uri="{BB962C8B-B14F-4D97-AF65-F5344CB8AC3E}">
        <p14:creationId xmlns:p14="http://schemas.microsoft.com/office/powerpoint/2010/main" val="3866892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440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800" b="0" i="0" baseline="0" dirty="0">
              <a:latin typeface="Calibri Bold" panose="020F0702030404030204" pitchFamily="34" charset="0"/>
              <a:ea typeface="+mj-ea"/>
              <a:cs typeface="+mj-cs"/>
              <a:sym typeface="Calibri Bold" panose="020F0702030404030204" pitchFamily="34" charset="0"/>
            </a:endParaRPr>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177626" y="5981700"/>
            <a:ext cx="1108803" cy="541758"/>
          </a:xfrm>
          <a:prstGeom prst="rect">
            <a:avLst/>
          </a:prstGeom>
        </p:spPr>
      </p:pic>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4" name="TextBox 23">
            <a:extLst>
              <a:ext uri="{FF2B5EF4-FFF2-40B4-BE49-F238E27FC236}">
                <a16:creationId xmlns:a16="http://schemas.microsoft.com/office/drawing/2014/main" id="{E05AD644-F1A6-45F1-8781-61D2349CA989}"/>
              </a:ext>
            </a:extLst>
          </p:cNvPr>
          <p:cNvSpPr txBox="1"/>
          <p:nvPr userDrawn="1"/>
        </p:nvSpPr>
        <p:spPr>
          <a:xfrm>
            <a:off x="4505325" y="592822"/>
            <a:ext cx="4429126" cy="615553"/>
          </a:xfrm>
          <a:prstGeom prst="rect">
            <a:avLst/>
          </a:prstGeom>
          <a:noFill/>
        </p:spPr>
        <p:txBody>
          <a:bodyPr wrap="square" lIns="0" tIns="0" rIns="0" bIns="0" rtlCol="0">
            <a:spAutoFit/>
          </a:bodyPr>
          <a:lstStyle>
            <a:defPPr>
              <a:defRPr lang="en-US"/>
            </a:defPPr>
            <a:lvl1pPr>
              <a:defRPr sz="4800" b="1">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lvl1pPr>
          </a:lstStyle>
          <a:p>
            <a:pPr algn="r"/>
            <a:r>
              <a:rPr lang="en-US" sz="4000" dirty="0">
                <a:solidFill>
                  <a:schemeClr val="accent2"/>
                </a:solidFill>
                <a:latin typeface="+mn-lt"/>
              </a:rPr>
              <a:t>Title Text</a:t>
            </a:r>
          </a:p>
        </p:txBody>
      </p:sp>
      <p:sp>
        <p:nvSpPr>
          <p:cNvPr id="25" name="Rectangle 24">
            <a:extLst>
              <a:ext uri="{FF2B5EF4-FFF2-40B4-BE49-F238E27FC236}">
                <a16:creationId xmlns:a16="http://schemas.microsoft.com/office/drawing/2014/main" id="{FF69F1C0-5CEC-44C9-9D5D-7F98DF78F363}"/>
              </a:ext>
            </a:extLst>
          </p:cNvPr>
          <p:cNvSpPr/>
          <p:nvPr userDrawn="1"/>
        </p:nvSpPr>
        <p:spPr>
          <a:xfrm>
            <a:off x="7362827" y="1365141"/>
            <a:ext cx="1571625" cy="1480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Box 25">
            <a:extLst>
              <a:ext uri="{FF2B5EF4-FFF2-40B4-BE49-F238E27FC236}">
                <a16:creationId xmlns:a16="http://schemas.microsoft.com/office/drawing/2014/main" id="{62903CC9-B254-4737-A2C3-B1F8C04CD642}"/>
              </a:ext>
            </a:extLst>
          </p:cNvPr>
          <p:cNvSpPr txBox="1"/>
          <p:nvPr userDrawn="1"/>
        </p:nvSpPr>
        <p:spPr>
          <a:xfrm>
            <a:off x="4505325" y="1669939"/>
            <a:ext cx="4429126" cy="77559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2800" dirty="0"/>
              <a:t>Sample  Text to be entered here</a:t>
            </a:r>
          </a:p>
        </p:txBody>
      </p:sp>
      <p:sp>
        <p:nvSpPr>
          <p:cNvPr id="29" name="Freeform: Shape 28">
            <a:extLst>
              <a:ext uri="{FF2B5EF4-FFF2-40B4-BE49-F238E27FC236}">
                <a16:creationId xmlns:a16="http://schemas.microsoft.com/office/drawing/2014/main" id="{12AA4170-E437-49BB-903F-DA17053F3730}"/>
              </a:ext>
            </a:extLst>
          </p:cNvPr>
          <p:cNvSpPr>
            <a:spLocks/>
          </p:cNvSpPr>
          <p:nvPr userDrawn="1"/>
        </p:nvSpPr>
        <p:spPr>
          <a:xfrm>
            <a:off x="1" y="0"/>
            <a:ext cx="4818290" cy="6858000"/>
          </a:xfrm>
          <a:custGeom>
            <a:avLst/>
            <a:gdLst>
              <a:gd name="connsiteX0" fmla="*/ 0 w 6424387"/>
              <a:gd name="connsiteY0" fmla="*/ 0 h 6724650"/>
              <a:gd name="connsiteX1" fmla="*/ 6424387 w 6424387"/>
              <a:gd name="connsiteY1" fmla="*/ 0 h 6724650"/>
              <a:gd name="connsiteX2" fmla="*/ 3351698 w 6424387"/>
              <a:gd name="connsiteY2" fmla="*/ 5432701 h 6724650"/>
              <a:gd name="connsiteX3" fmla="*/ 2918657 w 6424387"/>
              <a:gd name="connsiteY3" fmla="*/ 5275575 h 6724650"/>
              <a:gd name="connsiteX4" fmla="*/ 3041045 w 6424387"/>
              <a:gd name="connsiteY4" fmla="*/ 5981955 h 6724650"/>
              <a:gd name="connsiteX5" fmla="*/ 2620983 w 6424387"/>
              <a:gd name="connsiteY5" fmla="*/ 6724650 h 6724650"/>
              <a:gd name="connsiteX6" fmla="*/ 2470140 w 6424387"/>
              <a:gd name="connsiteY6" fmla="*/ 6724650 h 6724650"/>
              <a:gd name="connsiteX7" fmla="*/ 0 w 6424387"/>
              <a:gd name="connsiteY7" fmla="*/ 2357294 h 6724650"/>
              <a:gd name="connsiteX8" fmla="*/ 0 w 6424387"/>
              <a:gd name="connsiteY8" fmla="*/ 0 h 672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24387" h="6724650">
                <a:moveTo>
                  <a:pt x="0" y="0"/>
                </a:moveTo>
                <a:lnTo>
                  <a:pt x="6424387" y="0"/>
                </a:lnTo>
                <a:lnTo>
                  <a:pt x="3351698" y="5432701"/>
                </a:lnTo>
                <a:lnTo>
                  <a:pt x="2918657" y="5275575"/>
                </a:lnTo>
                <a:lnTo>
                  <a:pt x="3041045" y="5981955"/>
                </a:lnTo>
                <a:lnTo>
                  <a:pt x="2620983" y="6724650"/>
                </a:lnTo>
                <a:lnTo>
                  <a:pt x="2470140" y="6724650"/>
                </a:lnTo>
                <a:lnTo>
                  <a:pt x="0" y="23572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Isosceles Triangle 30">
            <a:extLst>
              <a:ext uri="{FF2B5EF4-FFF2-40B4-BE49-F238E27FC236}">
                <a16:creationId xmlns:a16="http://schemas.microsoft.com/office/drawing/2014/main" id="{6CF76025-496B-40F0-AF4C-2E7DF08A1564}"/>
              </a:ext>
            </a:extLst>
          </p:cNvPr>
          <p:cNvSpPr/>
          <p:nvPr userDrawn="1"/>
        </p:nvSpPr>
        <p:spPr>
          <a:xfrm rot="19203403">
            <a:off x="2033153" y="5319030"/>
            <a:ext cx="795528" cy="914400"/>
          </a:xfrm>
          <a:prstGeom prst="triangle">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413788" y="560065"/>
            <a:ext cx="3572426"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defRPr lang="en-US" sz="4800" dirty="0">
                <a:solidFill>
                  <a:schemeClr val="bg1"/>
                </a:solidFill>
              </a:defRPr>
            </a:lvl1pPr>
          </a:lstStyle>
          <a:p>
            <a:pPr marL="0" lvl="0">
              <a:spcBef>
                <a:spcPts val="0"/>
              </a:spcBef>
            </a:pPr>
            <a:r>
              <a:rPr lang="en-US" dirty="0"/>
              <a:t>Slide title </a:t>
            </a:r>
          </a:p>
        </p:txBody>
      </p:sp>
    </p:spTree>
    <p:extLst>
      <p:ext uri="{BB962C8B-B14F-4D97-AF65-F5344CB8AC3E}">
        <p14:creationId xmlns:p14="http://schemas.microsoft.com/office/powerpoint/2010/main" val="2832072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543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DF879375-FF95-4453-9384-6D415FEF74FB}" type="datetime1">
              <a:rPr lang="en-US" smtClean="0"/>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1771650" y="7764415"/>
            <a:ext cx="4114800" cy="13295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Rectangle 35">
            <a:extLst>
              <a:ext uri="{FF2B5EF4-FFF2-40B4-BE49-F238E27FC236}">
                <a16:creationId xmlns:a16="http://schemas.microsoft.com/office/drawing/2014/main" id="{87707435-6340-487D-B774-7D43E23A1599}"/>
              </a:ext>
            </a:extLst>
          </p:cNvPr>
          <p:cNvSpPr/>
          <p:nvPr userDrawn="1"/>
        </p:nvSpPr>
        <p:spPr>
          <a:xfrm>
            <a:off x="0" y="1"/>
            <a:ext cx="9144000" cy="3695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8" name="Title 4">
            <a:extLst>
              <a:ext uri="{FF2B5EF4-FFF2-40B4-BE49-F238E27FC236}">
                <a16:creationId xmlns:a16="http://schemas.microsoft.com/office/drawing/2014/main" id="{93586780-DD2C-48E2-B208-BDEFE1963324}"/>
              </a:ext>
            </a:extLst>
          </p:cNvPr>
          <p:cNvSpPr txBox="1">
            <a:spLocks/>
          </p:cNvSpPr>
          <p:nvPr userDrawn="1"/>
        </p:nvSpPr>
        <p:spPr>
          <a:xfrm>
            <a:off x="671237" y="1205983"/>
            <a:ext cx="7801527" cy="4431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3200" dirty="0">
                <a:solidFill>
                  <a:schemeClr val="bg1"/>
                </a:solidFill>
              </a:rPr>
              <a:t>Title Text</a:t>
            </a:r>
          </a:p>
        </p:txBody>
      </p:sp>
      <p:sp>
        <p:nvSpPr>
          <p:cNvPr id="40" name="TextBox 39">
            <a:extLst>
              <a:ext uri="{FF2B5EF4-FFF2-40B4-BE49-F238E27FC236}">
                <a16:creationId xmlns:a16="http://schemas.microsoft.com/office/drawing/2014/main" id="{54C04B48-F1A7-4EC4-8C3F-3499D53511B2}"/>
              </a:ext>
            </a:extLst>
          </p:cNvPr>
          <p:cNvSpPr txBox="1">
            <a:spLocks/>
          </p:cNvSpPr>
          <p:nvPr userDrawn="1"/>
        </p:nvSpPr>
        <p:spPr>
          <a:xfrm>
            <a:off x="671237" y="2087337"/>
            <a:ext cx="7801527"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1600" dirty="0">
                <a:solidFill>
                  <a:schemeClr val="bg1"/>
                </a:solidFill>
              </a:rPr>
              <a:t>Text </a:t>
            </a:r>
          </a:p>
        </p:txBody>
      </p:sp>
      <p:grpSp>
        <p:nvGrpSpPr>
          <p:cNvPr id="9" name="Group 8">
            <a:extLst>
              <a:ext uri="{FF2B5EF4-FFF2-40B4-BE49-F238E27FC236}">
                <a16:creationId xmlns:a16="http://schemas.microsoft.com/office/drawing/2014/main" id="{E735397E-57FD-4393-B216-3CAD8418A6E0}"/>
              </a:ext>
            </a:extLst>
          </p:cNvPr>
          <p:cNvGrpSpPr/>
          <p:nvPr userDrawn="1"/>
        </p:nvGrpSpPr>
        <p:grpSpPr>
          <a:xfrm>
            <a:off x="335149" y="2904032"/>
            <a:ext cx="1956668" cy="2285496"/>
            <a:chOff x="808200" y="2904031"/>
            <a:chExt cx="2608891" cy="2285496"/>
          </a:xfrm>
        </p:grpSpPr>
        <p:sp>
          <p:nvSpPr>
            <p:cNvPr id="41" name="Oval 40">
              <a:extLst>
                <a:ext uri="{FF2B5EF4-FFF2-40B4-BE49-F238E27FC236}">
                  <a16:creationId xmlns:a16="http://schemas.microsoft.com/office/drawing/2014/main" id="{20EDE70F-EB70-4D0A-A853-B61605273EE8}"/>
                </a:ext>
              </a:extLst>
            </p:cNvPr>
            <p:cNvSpPr/>
            <p:nvPr userDrawn="1"/>
          </p:nvSpPr>
          <p:spPr>
            <a:xfrm>
              <a:off x="130268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2.05B</a:t>
              </a:r>
            </a:p>
            <a:p>
              <a:pPr algn="ctr"/>
              <a:r>
                <a:rPr lang="en-IN" sz="2000" dirty="0">
                  <a:latin typeface="+mn-lt"/>
                </a:rPr>
                <a:t>…</a:t>
              </a:r>
            </a:p>
          </p:txBody>
        </p:sp>
        <p:sp>
          <p:nvSpPr>
            <p:cNvPr id="51" name="TextBox 50">
              <a:extLst>
                <a:ext uri="{FF2B5EF4-FFF2-40B4-BE49-F238E27FC236}">
                  <a16:creationId xmlns:a16="http://schemas.microsoft.com/office/drawing/2014/main" id="{B00B1222-92DF-4916-8FD5-DF48850B3A4F}"/>
                </a:ext>
              </a:extLst>
            </p:cNvPr>
            <p:cNvSpPr txBox="1"/>
            <p:nvPr userDrawn="1"/>
          </p:nvSpPr>
          <p:spPr>
            <a:xfrm>
              <a:off x="808200"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15" name="Group 14">
            <a:extLst>
              <a:ext uri="{FF2B5EF4-FFF2-40B4-BE49-F238E27FC236}">
                <a16:creationId xmlns:a16="http://schemas.microsoft.com/office/drawing/2014/main" id="{142FC6A6-77DD-4A96-8604-5C6B2725B1C0}"/>
              </a:ext>
            </a:extLst>
          </p:cNvPr>
          <p:cNvGrpSpPr/>
          <p:nvPr userDrawn="1"/>
        </p:nvGrpSpPr>
        <p:grpSpPr>
          <a:xfrm>
            <a:off x="2507494" y="2904032"/>
            <a:ext cx="1956668" cy="2285496"/>
            <a:chOff x="3463769" y="2904031"/>
            <a:chExt cx="2608891" cy="2285496"/>
          </a:xfrm>
        </p:grpSpPr>
        <p:sp>
          <p:nvSpPr>
            <p:cNvPr id="48" name="Oval 47">
              <a:extLst>
                <a:ext uri="{FF2B5EF4-FFF2-40B4-BE49-F238E27FC236}">
                  <a16:creationId xmlns:a16="http://schemas.microsoft.com/office/drawing/2014/main" id="{AE752A43-CCA4-49A4-BA0B-CB29FDE0F4BE}"/>
                </a:ext>
              </a:extLst>
            </p:cNvPr>
            <p:cNvSpPr/>
            <p:nvPr userDrawn="1"/>
          </p:nvSpPr>
          <p:spPr>
            <a:xfrm>
              <a:off x="395825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452M</a:t>
              </a:r>
            </a:p>
            <a:p>
              <a:pPr algn="ctr"/>
              <a:r>
                <a:rPr lang="en-IN" sz="2800" dirty="0">
                  <a:latin typeface="+mn-lt"/>
                </a:rPr>
                <a:t>…</a:t>
              </a:r>
            </a:p>
          </p:txBody>
        </p:sp>
        <p:sp>
          <p:nvSpPr>
            <p:cNvPr id="52" name="TextBox 51">
              <a:extLst>
                <a:ext uri="{FF2B5EF4-FFF2-40B4-BE49-F238E27FC236}">
                  <a16:creationId xmlns:a16="http://schemas.microsoft.com/office/drawing/2014/main" id="{0AF9B208-B0CD-4697-9179-93AE52570785}"/>
                </a:ext>
              </a:extLst>
            </p:cNvPr>
            <p:cNvSpPr txBox="1"/>
            <p:nvPr userDrawn="1"/>
          </p:nvSpPr>
          <p:spPr>
            <a:xfrm>
              <a:off x="3463769"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16" name="Group 15">
            <a:extLst>
              <a:ext uri="{FF2B5EF4-FFF2-40B4-BE49-F238E27FC236}">
                <a16:creationId xmlns:a16="http://schemas.microsoft.com/office/drawing/2014/main" id="{D21D24A7-8E1F-414A-BAA7-44F6EEF21AE3}"/>
              </a:ext>
            </a:extLst>
          </p:cNvPr>
          <p:cNvGrpSpPr/>
          <p:nvPr userDrawn="1"/>
        </p:nvGrpSpPr>
        <p:grpSpPr>
          <a:xfrm>
            <a:off x="4679839" y="2904032"/>
            <a:ext cx="1956668" cy="2285496"/>
            <a:chOff x="6119340" y="2904031"/>
            <a:chExt cx="2608891" cy="2285496"/>
          </a:xfrm>
        </p:grpSpPr>
        <p:sp>
          <p:nvSpPr>
            <p:cNvPr id="49" name="Oval 48">
              <a:extLst>
                <a:ext uri="{FF2B5EF4-FFF2-40B4-BE49-F238E27FC236}">
                  <a16:creationId xmlns:a16="http://schemas.microsoft.com/office/drawing/2014/main" id="{BB1168E8-2C75-402B-B8D1-790FBC9A0D4B}"/>
                </a:ext>
              </a:extLst>
            </p:cNvPr>
            <p:cNvSpPr/>
            <p:nvPr userDrawn="1"/>
          </p:nvSpPr>
          <p:spPr>
            <a:xfrm>
              <a:off x="661382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797M</a:t>
              </a:r>
            </a:p>
            <a:p>
              <a:pPr algn="ctr"/>
              <a:r>
                <a:rPr lang="en-IN" sz="2800" dirty="0">
                  <a:latin typeface="+mn-lt"/>
                </a:rPr>
                <a:t>…</a:t>
              </a:r>
            </a:p>
          </p:txBody>
        </p:sp>
        <p:sp>
          <p:nvSpPr>
            <p:cNvPr id="53" name="TextBox 52">
              <a:extLst>
                <a:ext uri="{FF2B5EF4-FFF2-40B4-BE49-F238E27FC236}">
                  <a16:creationId xmlns:a16="http://schemas.microsoft.com/office/drawing/2014/main" id="{56B9A0AC-BDA2-4C1B-8E59-20D469EAA72C}"/>
                </a:ext>
              </a:extLst>
            </p:cNvPr>
            <p:cNvSpPr txBox="1"/>
            <p:nvPr userDrawn="1"/>
          </p:nvSpPr>
          <p:spPr>
            <a:xfrm>
              <a:off x="6119340"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3" name="Group 2">
            <a:extLst>
              <a:ext uri="{FF2B5EF4-FFF2-40B4-BE49-F238E27FC236}">
                <a16:creationId xmlns:a16="http://schemas.microsoft.com/office/drawing/2014/main" id="{BF6DD82D-2611-49A1-9397-AB6CAEEB9F0A}"/>
              </a:ext>
            </a:extLst>
          </p:cNvPr>
          <p:cNvGrpSpPr/>
          <p:nvPr userDrawn="1"/>
        </p:nvGrpSpPr>
        <p:grpSpPr>
          <a:xfrm>
            <a:off x="6852184" y="2904032"/>
            <a:ext cx="1956668" cy="2285496"/>
            <a:chOff x="8774909" y="2904031"/>
            <a:chExt cx="2608891" cy="2285496"/>
          </a:xfrm>
        </p:grpSpPr>
        <p:sp>
          <p:nvSpPr>
            <p:cNvPr id="50" name="Oval 49">
              <a:extLst>
                <a:ext uri="{FF2B5EF4-FFF2-40B4-BE49-F238E27FC236}">
                  <a16:creationId xmlns:a16="http://schemas.microsoft.com/office/drawing/2014/main" id="{E10F9008-3B96-4FF2-8CE3-5208D10501DE}"/>
                </a:ext>
              </a:extLst>
            </p:cNvPr>
            <p:cNvSpPr/>
            <p:nvPr userDrawn="1"/>
          </p:nvSpPr>
          <p:spPr>
            <a:xfrm>
              <a:off x="926939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250M</a:t>
              </a:r>
            </a:p>
            <a:p>
              <a:pPr algn="ctr"/>
              <a:r>
                <a:rPr lang="en-IN" sz="2800" dirty="0">
                  <a:latin typeface="+mn-lt"/>
                </a:rPr>
                <a:t>…</a:t>
              </a:r>
            </a:p>
          </p:txBody>
        </p:sp>
        <p:sp>
          <p:nvSpPr>
            <p:cNvPr id="54" name="TextBox 53">
              <a:extLst>
                <a:ext uri="{FF2B5EF4-FFF2-40B4-BE49-F238E27FC236}">
                  <a16:creationId xmlns:a16="http://schemas.microsoft.com/office/drawing/2014/main" id="{DE1F8242-00AF-4FD1-98FD-50F6971C3D05}"/>
                </a:ext>
              </a:extLst>
            </p:cNvPr>
            <p:cNvSpPr txBox="1"/>
            <p:nvPr userDrawn="1"/>
          </p:nvSpPr>
          <p:spPr>
            <a:xfrm>
              <a:off x="8774909"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sp>
        <p:nvSpPr>
          <p:cNvPr id="2" name="Title 1">
            <a:extLst>
              <a:ext uri="{FF2B5EF4-FFF2-40B4-BE49-F238E27FC236}">
                <a16:creationId xmlns:a16="http://schemas.microsoft.com/office/drawing/2014/main" id="{29449FE9-344E-427F-953D-D15DC98944F4}"/>
              </a:ext>
            </a:extLst>
          </p:cNvPr>
          <p:cNvSpPr>
            <a:spLocks noGrp="1"/>
          </p:cNvSpPr>
          <p:nvPr userDrawn="1">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bg1"/>
                </a:solidFill>
              </a:defRPr>
            </a:lvl1pPr>
          </a:lstStyle>
          <a:p>
            <a:pPr marL="0" lvl="0">
              <a:spcBef>
                <a:spcPts val="0"/>
              </a:spcBef>
            </a:pPr>
            <a:r>
              <a:rPr lang="en-US"/>
              <a:t>Click to edit Master title style</a:t>
            </a:r>
            <a:endParaRPr lang="en-US" dirty="0"/>
          </a:p>
        </p:txBody>
      </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lum bright="10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Tree>
    <p:extLst>
      <p:ext uri="{BB962C8B-B14F-4D97-AF65-F5344CB8AC3E}">
        <p14:creationId xmlns:p14="http://schemas.microsoft.com/office/powerpoint/2010/main" val="18695389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645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9A1683E1-CD5D-4B18-B182-4AC9569B998A}" type="datetime1">
              <a:rPr lang="en-US" smtClean="0"/>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3" name="Rectangle: Rounded Corners 22">
            <a:extLst>
              <a:ext uri="{FF2B5EF4-FFF2-40B4-BE49-F238E27FC236}">
                <a16:creationId xmlns:a16="http://schemas.microsoft.com/office/drawing/2014/main" id="{3BBEC2C8-DD43-4D8E-A1FF-A64630DBDAE2}"/>
              </a:ext>
            </a:extLst>
          </p:cNvPr>
          <p:cNvSpPr/>
          <p:nvPr userDrawn="1"/>
        </p:nvSpPr>
        <p:spPr>
          <a:xfrm>
            <a:off x="491631" y="1745345"/>
            <a:ext cx="2422312" cy="1806410"/>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Rounded Corners 23">
            <a:extLst>
              <a:ext uri="{FF2B5EF4-FFF2-40B4-BE49-F238E27FC236}">
                <a16:creationId xmlns:a16="http://schemas.microsoft.com/office/drawing/2014/main" id="{5557ECB1-1B4F-4D30-9C11-899DB2C8750A}"/>
              </a:ext>
            </a:extLst>
          </p:cNvPr>
          <p:cNvSpPr/>
          <p:nvPr userDrawn="1"/>
        </p:nvSpPr>
        <p:spPr>
          <a:xfrm>
            <a:off x="1299883" y="1317815"/>
            <a:ext cx="805813" cy="918521"/>
          </a:xfrm>
          <a:prstGeom prst="roundRect">
            <a:avLst>
              <a:gd name="adj" fmla="val 107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TextBox 24">
            <a:extLst>
              <a:ext uri="{FF2B5EF4-FFF2-40B4-BE49-F238E27FC236}">
                <a16:creationId xmlns:a16="http://schemas.microsoft.com/office/drawing/2014/main" id="{B941E629-AFE7-435D-A42F-5CD54C529458}"/>
              </a:ext>
            </a:extLst>
          </p:cNvPr>
          <p:cNvSpPr txBox="1"/>
          <p:nvPr userDrawn="1"/>
        </p:nvSpPr>
        <p:spPr>
          <a:xfrm>
            <a:off x="1016353" y="2389905"/>
            <a:ext cx="1372868" cy="338554"/>
          </a:xfrm>
          <a:prstGeom prst="rect">
            <a:avLst/>
          </a:prstGeom>
          <a:noFill/>
        </p:spPr>
        <p:txBody>
          <a:bodyPr wrap="square" rtlCol="0">
            <a:spAutoFit/>
          </a:bodyPr>
          <a:lstStyle/>
          <a:p>
            <a:pPr algn="ctr"/>
            <a:r>
              <a:rPr lang="en-US" sz="1600" b="1" dirty="0">
                <a:solidFill>
                  <a:schemeClr val="tx2"/>
                </a:solidFill>
              </a:rPr>
              <a:t>Text </a:t>
            </a:r>
          </a:p>
        </p:txBody>
      </p:sp>
      <p:sp>
        <p:nvSpPr>
          <p:cNvPr id="26" name="TextBox 25">
            <a:extLst>
              <a:ext uri="{FF2B5EF4-FFF2-40B4-BE49-F238E27FC236}">
                <a16:creationId xmlns:a16="http://schemas.microsoft.com/office/drawing/2014/main" id="{0D175AD1-A64A-4EFF-BD8B-FF940EEA1A54}"/>
              </a:ext>
            </a:extLst>
          </p:cNvPr>
          <p:cNvSpPr txBox="1">
            <a:spLocks/>
          </p:cNvSpPr>
          <p:nvPr userDrawn="1"/>
        </p:nvSpPr>
        <p:spPr>
          <a:xfrm>
            <a:off x="631271"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27" name="Freeform 40">
            <a:extLst>
              <a:ext uri="{FF2B5EF4-FFF2-40B4-BE49-F238E27FC236}">
                <a16:creationId xmlns:a16="http://schemas.microsoft.com/office/drawing/2014/main" id="{B14EF1B0-3AB4-489A-83F6-09D149F68800}"/>
              </a:ext>
            </a:extLst>
          </p:cNvPr>
          <p:cNvSpPr>
            <a:spLocks noChangeArrowheads="1"/>
          </p:cNvSpPr>
          <p:nvPr userDrawn="1"/>
        </p:nvSpPr>
        <p:spPr bwMode="auto">
          <a:xfrm>
            <a:off x="1456571" y="1491354"/>
            <a:ext cx="492437" cy="571442"/>
          </a:xfrm>
          <a:custGeom>
            <a:avLst/>
            <a:gdLst>
              <a:gd name="T0" fmla="*/ 532 w 547"/>
              <a:gd name="T1" fmla="*/ 304 h 479"/>
              <a:gd name="T2" fmla="*/ 358 w 547"/>
              <a:gd name="T3" fmla="*/ 0 h 479"/>
              <a:gd name="T4" fmla="*/ 184 w 547"/>
              <a:gd name="T5" fmla="*/ 0 h 479"/>
              <a:gd name="T6" fmla="*/ 358 w 547"/>
              <a:gd name="T7" fmla="*/ 304 h 479"/>
              <a:gd name="T8" fmla="*/ 532 w 547"/>
              <a:gd name="T9" fmla="*/ 304 h 479"/>
              <a:gd name="T10" fmla="*/ 213 w 547"/>
              <a:gd name="T11" fmla="*/ 328 h 479"/>
              <a:gd name="T12" fmla="*/ 126 w 547"/>
              <a:gd name="T13" fmla="*/ 478 h 479"/>
              <a:gd name="T14" fmla="*/ 459 w 547"/>
              <a:gd name="T15" fmla="*/ 478 h 479"/>
              <a:gd name="T16" fmla="*/ 546 w 547"/>
              <a:gd name="T17" fmla="*/ 328 h 479"/>
              <a:gd name="T18" fmla="*/ 213 w 547"/>
              <a:gd name="T19" fmla="*/ 328 h 479"/>
              <a:gd name="T20" fmla="*/ 164 w 547"/>
              <a:gd name="T21" fmla="*/ 38 h 479"/>
              <a:gd name="T22" fmla="*/ 0 w 547"/>
              <a:gd name="T23" fmla="*/ 328 h 479"/>
              <a:gd name="T24" fmla="*/ 82 w 547"/>
              <a:gd name="T25" fmla="*/ 478 h 479"/>
              <a:gd name="T26" fmla="*/ 251 w 547"/>
              <a:gd name="T27" fmla="*/ 188 h 479"/>
              <a:gd name="T28" fmla="*/ 164 w 547"/>
              <a:gd name="T29" fmla="*/ 3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479">
                <a:moveTo>
                  <a:pt x="532" y="304"/>
                </a:moveTo>
                <a:lnTo>
                  <a:pt x="358" y="0"/>
                </a:lnTo>
                <a:lnTo>
                  <a:pt x="184" y="0"/>
                </a:lnTo>
                <a:lnTo>
                  <a:pt x="358" y="304"/>
                </a:lnTo>
                <a:lnTo>
                  <a:pt x="532" y="304"/>
                </a:lnTo>
                <a:close/>
                <a:moveTo>
                  <a:pt x="213" y="328"/>
                </a:moveTo>
                <a:lnTo>
                  <a:pt x="126" y="478"/>
                </a:lnTo>
                <a:lnTo>
                  <a:pt x="459" y="478"/>
                </a:lnTo>
                <a:lnTo>
                  <a:pt x="546" y="328"/>
                </a:lnTo>
                <a:lnTo>
                  <a:pt x="213" y="328"/>
                </a:lnTo>
                <a:close/>
                <a:moveTo>
                  <a:pt x="164" y="38"/>
                </a:moveTo>
                <a:lnTo>
                  <a:pt x="0" y="328"/>
                </a:lnTo>
                <a:lnTo>
                  <a:pt x="82" y="478"/>
                </a:lnTo>
                <a:lnTo>
                  <a:pt x="251" y="188"/>
                </a:lnTo>
                <a:lnTo>
                  <a:pt x="164" y="38"/>
                </a:lnTo>
                <a:close/>
              </a:path>
            </a:pathLst>
          </a:custGeom>
          <a:solidFill>
            <a:schemeClr val="bg1"/>
          </a:solidFill>
          <a:ln>
            <a:noFill/>
          </a:ln>
          <a:effectLst/>
        </p:spPr>
        <p:txBody>
          <a:bodyPr wrap="none" anchor="ctr"/>
          <a:lstStyle/>
          <a:p>
            <a:endParaRPr lang="en-US" sz="2592" dirty="0"/>
          </a:p>
        </p:txBody>
      </p:sp>
      <p:sp>
        <p:nvSpPr>
          <p:cNvPr id="28" name="Rectangle: Rounded Corners 27">
            <a:extLst>
              <a:ext uri="{FF2B5EF4-FFF2-40B4-BE49-F238E27FC236}">
                <a16:creationId xmlns:a16="http://schemas.microsoft.com/office/drawing/2014/main" id="{AEB24AE3-3B9D-4868-BD64-8FEF9C676015}"/>
              </a:ext>
            </a:extLst>
          </p:cNvPr>
          <p:cNvSpPr/>
          <p:nvPr userDrawn="1"/>
        </p:nvSpPr>
        <p:spPr>
          <a:xfrm>
            <a:off x="3360846" y="1745345"/>
            <a:ext cx="2422312" cy="1806410"/>
          </a:xfrm>
          <a:prstGeom prst="round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Rounded Corners 28">
            <a:extLst>
              <a:ext uri="{FF2B5EF4-FFF2-40B4-BE49-F238E27FC236}">
                <a16:creationId xmlns:a16="http://schemas.microsoft.com/office/drawing/2014/main" id="{17BB32F5-FE05-4834-9916-F3F574D9BDBE}"/>
              </a:ext>
            </a:extLst>
          </p:cNvPr>
          <p:cNvSpPr/>
          <p:nvPr userDrawn="1"/>
        </p:nvSpPr>
        <p:spPr>
          <a:xfrm>
            <a:off x="4169096" y="1317815"/>
            <a:ext cx="805813" cy="918521"/>
          </a:xfrm>
          <a:prstGeom prst="roundRect">
            <a:avLst>
              <a:gd name="adj" fmla="val 107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TextBox 29">
            <a:extLst>
              <a:ext uri="{FF2B5EF4-FFF2-40B4-BE49-F238E27FC236}">
                <a16:creationId xmlns:a16="http://schemas.microsoft.com/office/drawing/2014/main" id="{54FF360F-6052-40D8-8746-E43B2DB51EE8}"/>
              </a:ext>
            </a:extLst>
          </p:cNvPr>
          <p:cNvSpPr txBox="1"/>
          <p:nvPr userDrawn="1"/>
        </p:nvSpPr>
        <p:spPr>
          <a:xfrm>
            <a:off x="3885568" y="2389905"/>
            <a:ext cx="1372868" cy="338554"/>
          </a:xfrm>
          <a:prstGeom prst="rect">
            <a:avLst/>
          </a:prstGeom>
          <a:noFill/>
        </p:spPr>
        <p:txBody>
          <a:bodyPr wrap="square" rtlCol="0">
            <a:spAutoFit/>
          </a:bodyPr>
          <a:lstStyle/>
          <a:p>
            <a:pPr algn="ctr"/>
            <a:r>
              <a:rPr lang="en-US" sz="1600" b="1" dirty="0">
                <a:solidFill>
                  <a:schemeClr val="accent2"/>
                </a:solidFill>
              </a:rPr>
              <a:t>Text </a:t>
            </a:r>
          </a:p>
        </p:txBody>
      </p:sp>
      <p:sp>
        <p:nvSpPr>
          <p:cNvPr id="31" name="TextBox 30">
            <a:extLst>
              <a:ext uri="{FF2B5EF4-FFF2-40B4-BE49-F238E27FC236}">
                <a16:creationId xmlns:a16="http://schemas.microsoft.com/office/drawing/2014/main" id="{B3AC6E23-F3F8-4165-838B-07443468EC7C}"/>
              </a:ext>
            </a:extLst>
          </p:cNvPr>
          <p:cNvSpPr txBox="1">
            <a:spLocks/>
          </p:cNvSpPr>
          <p:nvPr userDrawn="1"/>
        </p:nvSpPr>
        <p:spPr>
          <a:xfrm>
            <a:off x="3500484"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32" name="Rectangle: Rounded Corners 31">
            <a:extLst>
              <a:ext uri="{FF2B5EF4-FFF2-40B4-BE49-F238E27FC236}">
                <a16:creationId xmlns:a16="http://schemas.microsoft.com/office/drawing/2014/main" id="{6D050274-8FC3-455D-9028-6209155A6A11}"/>
              </a:ext>
            </a:extLst>
          </p:cNvPr>
          <p:cNvSpPr/>
          <p:nvPr userDrawn="1"/>
        </p:nvSpPr>
        <p:spPr>
          <a:xfrm>
            <a:off x="6230058" y="1745345"/>
            <a:ext cx="2422312" cy="1806410"/>
          </a:xfrm>
          <a:prstGeom prst="round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Rounded Corners 32">
            <a:extLst>
              <a:ext uri="{FF2B5EF4-FFF2-40B4-BE49-F238E27FC236}">
                <a16:creationId xmlns:a16="http://schemas.microsoft.com/office/drawing/2014/main" id="{A5B27152-56FC-41D9-A5FB-16C956D0972A}"/>
              </a:ext>
            </a:extLst>
          </p:cNvPr>
          <p:cNvSpPr/>
          <p:nvPr userDrawn="1"/>
        </p:nvSpPr>
        <p:spPr>
          <a:xfrm>
            <a:off x="7038310" y="1317815"/>
            <a:ext cx="805813" cy="918521"/>
          </a:xfrm>
          <a:prstGeom prst="roundRect">
            <a:avLst>
              <a:gd name="adj" fmla="val 1078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TextBox 33">
            <a:extLst>
              <a:ext uri="{FF2B5EF4-FFF2-40B4-BE49-F238E27FC236}">
                <a16:creationId xmlns:a16="http://schemas.microsoft.com/office/drawing/2014/main" id="{182A55C1-D056-4548-9DD1-85640F15E6C9}"/>
              </a:ext>
            </a:extLst>
          </p:cNvPr>
          <p:cNvSpPr txBox="1"/>
          <p:nvPr userDrawn="1"/>
        </p:nvSpPr>
        <p:spPr>
          <a:xfrm>
            <a:off x="6754780" y="2389905"/>
            <a:ext cx="1372868" cy="338554"/>
          </a:xfrm>
          <a:prstGeom prst="rect">
            <a:avLst/>
          </a:prstGeom>
          <a:noFill/>
        </p:spPr>
        <p:txBody>
          <a:bodyPr wrap="square" rtlCol="0">
            <a:spAutoFit/>
          </a:bodyPr>
          <a:lstStyle/>
          <a:p>
            <a:pPr algn="ctr"/>
            <a:r>
              <a:rPr lang="en-US" sz="1600" b="1" dirty="0">
                <a:solidFill>
                  <a:schemeClr val="accent3"/>
                </a:solidFill>
              </a:rPr>
              <a:t>Text </a:t>
            </a:r>
          </a:p>
        </p:txBody>
      </p:sp>
      <p:sp>
        <p:nvSpPr>
          <p:cNvPr id="35" name="TextBox 34">
            <a:extLst>
              <a:ext uri="{FF2B5EF4-FFF2-40B4-BE49-F238E27FC236}">
                <a16:creationId xmlns:a16="http://schemas.microsoft.com/office/drawing/2014/main" id="{630BD6A8-FD74-43BA-B8B5-718A9F8688D4}"/>
              </a:ext>
            </a:extLst>
          </p:cNvPr>
          <p:cNvSpPr txBox="1">
            <a:spLocks/>
          </p:cNvSpPr>
          <p:nvPr userDrawn="1"/>
        </p:nvSpPr>
        <p:spPr>
          <a:xfrm>
            <a:off x="6369698"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36" name="Rectangle: Rounded Corners 35">
            <a:extLst>
              <a:ext uri="{FF2B5EF4-FFF2-40B4-BE49-F238E27FC236}">
                <a16:creationId xmlns:a16="http://schemas.microsoft.com/office/drawing/2014/main" id="{EE63C228-3402-458D-9C99-823B1C0AA9A0}"/>
              </a:ext>
            </a:extLst>
          </p:cNvPr>
          <p:cNvSpPr/>
          <p:nvPr userDrawn="1"/>
        </p:nvSpPr>
        <p:spPr>
          <a:xfrm>
            <a:off x="491631" y="4562116"/>
            <a:ext cx="2422312" cy="1806410"/>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Rounded Corners 36">
            <a:extLst>
              <a:ext uri="{FF2B5EF4-FFF2-40B4-BE49-F238E27FC236}">
                <a16:creationId xmlns:a16="http://schemas.microsoft.com/office/drawing/2014/main" id="{65E86A9E-3060-406C-A0A8-4E32FE9FFD35}"/>
              </a:ext>
            </a:extLst>
          </p:cNvPr>
          <p:cNvSpPr/>
          <p:nvPr userDrawn="1"/>
        </p:nvSpPr>
        <p:spPr>
          <a:xfrm>
            <a:off x="1299883" y="4134590"/>
            <a:ext cx="805813" cy="918521"/>
          </a:xfrm>
          <a:prstGeom prst="roundRect">
            <a:avLst>
              <a:gd name="adj" fmla="val 107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TextBox 37">
            <a:extLst>
              <a:ext uri="{FF2B5EF4-FFF2-40B4-BE49-F238E27FC236}">
                <a16:creationId xmlns:a16="http://schemas.microsoft.com/office/drawing/2014/main" id="{21EDDD4D-4F11-4094-92DB-DA6E141F2A35}"/>
              </a:ext>
            </a:extLst>
          </p:cNvPr>
          <p:cNvSpPr txBox="1"/>
          <p:nvPr userDrawn="1"/>
        </p:nvSpPr>
        <p:spPr>
          <a:xfrm>
            <a:off x="1016353" y="5206676"/>
            <a:ext cx="1372868" cy="338554"/>
          </a:xfrm>
          <a:prstGeom prst="rect">
            <a:avLst/>
          </a:prstGeom>
          <a:noFill/>
        </p:spPr>
        <p:txBody>
          <a:bodyPr wrap="square" rtlCol="0">
            <a:spAutoFit/>
          </a:bodyPr>
          <a:lstStyle/>
          <a:p>
            <a:pPr algn="ctr"/>
            <a:r>
              <a:rPr lang="en-US" sz="1600" b="1" dirty="0">
                <a:solidFill>
                  <a:schemeClr val="accent4"/>
                </a:solidFill>
              </a:rPr>
              <a:t>Text </a:t>
            </a:r>
          </a:p>
        </p:txBody>
      </p:sp>
      <p:sp>
        <p:nvSpPr>
          <p:cNvPr id="40" name="TextBox 39">
            <a:extLst>
              <a:ext uri="{FF2B5EF4-FFF2-40B4-BE49-F238E27FC236}">
                <a16:creationId xmlns:a16="http://schemas.microsoft.com/office/drawing/2014/main" id="{49FE89C2-625D-468C-95E8-5E3217FAEC6E}"/>
              </a:ext>
            </a:extLst>
          </p:cNvPr>
          <p:cNvSpPr txBox="1">
            <a:spLocks/>
          </p:cNvSpPr>
          <p:nvPr userDrawn="1"/>
        </p:nvSpPr>
        <p:spPr>
          <a:xfrm>
            <a:off x="631271"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41" name="Rectangle: Rounded Corners 40">
            <a:extLst>
              <a:ext uri="{FF2B5EF4-FFF2-40B4-BE49-F238E27FC236}">
                <a16:creationId xmlns:a16="http://schemas.microsoft.com/office/drawing/2014/main" id="{EE9D6F5B-3A4A-44BC-9AEE-54FDE32F51D8}"/>
              </a:ext>
            </a:extLst>
          </p:cNvPr>
          <p:cNvSpPr/>
          <p:nvPr userDrawn="1"/>
        </p:nvSpPr>
        <p:spPr>
          <a:xfrm>
            <a:off x="3360846" y="4562116"/>
            <a:ext cx="2422312" cy="1806410"/>
          </a:xfrm>
          <a:prstGeom prst="round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8" name="Rectangle: Rounded Corners 47">
            <a:extLst>
              <a:ext uri="{FF2B5EF4-FFF2-40B4-BE49-F238E27FC236}">
                <a16:creationId xmlns:a16="http://schemas.microsoft.com/office/drawing/2014/main" id="{9D9D862B-1D4B-4B33-B5FF-08F3725D5228}"/>
              </a:ext>
            </a:extLst>
          </p:cNvPr>
          <p:cNvSpPr/>
          <p:nvPr userDrawn="1"/>
        </p:nvSpPr>
        <p:spPr>
          <a:xfrm>
            <a:off x="4169096" y="4134590"/>
            <a:ext cx="805813" cy="918521"/>
          </a:xfrm>
          <a:prstGeom prst="roundRect">
            <a:avLst>
              <a:gd name="adj" fmla="val 1078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9" name="TextBox 48">
            <a:extLst>
              <a:ext uri="{FF2B5EF4-FFF2-40B4-BE49-F238E27FC236}">
                <a16:creationId xmlns:a16="http://schemas.microsoft.com/office/drawing/2014/main" id="{61846503-F772-49D7-9B01-69FD63B91B5B}"/>
              </a:ext>
            </a:extLst>
          </p:cNvPr>
          <p:cNvSpPr txBox="1"/>
          <p:nvPr userDrawn="1"/>
        </p:nvSpPr>
        <p:spPr>
          <a:xfrm>
            <a:off x="3885568" y="5206676"/>
            <a:ext cx="1372868" cy="338554"/>
          </a:xfrm>
          <a:prstGeom prst="rect">
            <a:avLst/>
          </a:prstGeom>
          <a:noFill/>
        </p:spPr>
        <p:txBody>
          <a:bodyPr wrap="square" rtlCol="0">
            <a:spAutoFit/>
          </a:bodyPr>
          <a:lstStyle/>
          <a:p>
            <a:pPr algn="ctr"/>
            <a:r>
              <a:rPr lang="en-US" sz="1600" b="1" dirty="0">
                <a:solidFill>
                  <a:schemeClr val="bg1">
                    <a:lumMod val="50000"/>
                  </a:schemeClr>
                </a:solidFill>
              </a:rPr>
              <a:t>Text </a:t>
            </a:r>
          </a:p>
        </p:txBody>
      </p:sp>
      <p:sp>
        <p:nvSpPr>
          <p:cNvPr id="50" name="TextBox 49">
            <a:extLst>
              <a:ext uri="{FF2B5EF4-FFF2-40B4-BE49-F238E27FC236}">
                <a16:creationId xmlns:a16="http://schemas.microsoft.com/office/drawing/2014/main" id="{9707A3AD-2C33-44C6-A717-3F8E1F3D40E4}"/>
              </a:ext>
            </a:extLst>
          </p:cNvPr>
          <p:cNvSpPr txBox="1">
            <a:spLocks/>
          </p:cNvSpPr>
          <p:nvPr userDrawn="1"/>
        </p:nvSpPr>
        <p:spPr>
          <a:xfrm>
            <a:off x="3500484"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51" name="Rectangle: Rounded Corners 50">
            <a:extLst>
              <a:ext uri="{FF2B5EF4-FFF2-40B4-BE49-F238E27FC236}">
                <a16:creationId xmlns:a16="http://schemas.microsoft.com/office/drawing/2014/main" id="{F52F291F-DB12-469E-8EFF-E8CEA714ED87}"/>
              </a:ext>
            </a:extLst>
          </p:cNvPr>
          <p:cNvSpPr/>
          <p:nvPr userDrawn="1"/>
        </p:nvSpPr>
        <p:spPr>
          <a:xfrm>
            <a:off x="6230058" y="4562116"/>
            <a:ext cx="2422312" cy="1806410"/>
          </a:xfrm>
          <a:prstGeom prst="roundRect">
            <a:avLst/>
          </a:prstGeom>
          <a:solidFill>
            <a:schemeClr val="bg1"/>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2" name="Rectangle: Rounded Corners 51">
            <a:extLst>
              <a:ext uri="{FF2B5EF4-FFF2-40B4-BE49-F238E27FC236}">
                <a16:creationId xmlns:a16="http://schemas.microsoft.com/office/drawing/2014/main" id="{D972DE3B-1A66-43B2-A0F1-6EAE948D75D1}"/>
              </a:ext>
            </a:extLst>
          </p:cNvPr>
          <p:cNvSpPr/>
          <p:nvPr userDrawn="1"/>
        </p:nvSpPr>
        <p:spPr>
          <a:xfrm>
            <a:off x="7038310" y="4134590"/>
            <a:ext cx="805813" cy="918521"/>
          </a:xfrm>
          <a:prstGeom prst="roundRect">
            <a:avLst>
              <a:gd name="adj" fmla="val 10785"/>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3" name="TextBox 52">
            <a:extLst>
              <a:ext uri="{FF2B5EF4-FFF2-40B4-BE49-F238E27FC236}">
                <a16:creationId xmlns:a16="http://schemas.microsoft.com/office/drawing/2014/main" id="{70C1009D-1504-430A-B8EA-662AF006F0BC}"/>
              </a:ext>
            </a:extLst>
          </p:cNvPr>
          <p:cNvSpPr txBox="1"/>
          <p:nvPr userDrawn="1"/>
        </p:nvSpPr>
        <p:spPr>
          <a:xfrm>
            <a:off x="6754780" y="5206676"/>
            <a:ext cx="1372868" cy="338554"/>
          </a:xfrm>
          <a:prstGeom prst="rect">
            <a:avLst/>
          </a:prstGeom>
          <a:noFill/>
        </p:spPr>
        <p:txBody>
          <a:bodyPr wrap="square" rtlCol="0">
            <a:spAutoFit/>
          </a:bodyPr>
          <a:lstStyle/>
          <a:p>
            <a:pPr algn="ctr"/>
            <a:r>
              <a:rPr lang="en-US" sz="1600" b="1" dirty="0">
                <a:solidFill>
                  <a:schemeClr val="accent5">
                    <a:lumMod val="75000"/>
                  </a:schemeClr>
                </a:solidFill>
              </a:rPr>
              <a:t>Text </a:t>
            </a:r>
          </a:p>
        </p:txBody>
      </p:sp>
      <p:sp>
        <p:nvSpPr>
          <p:cNvPr id="54" name="TextBox 53">
            <a:extLst>
              <a:ext uri="{FF2B5EF4-FFF2-40B4-BE49-F238E27FC236}">
                <a16:creationId xmlns:a16="http://schemas.microsoft.com/office/drawing/2014/main" id="{87B4DDF7-BA28-434C-8706-9203E8990665}"/>
              </a:ext>
            </a:extLst>
          </p:cNvPr>
          <p:cNvSpPr txBox="1"/>
          <p:nvPr userDrawn="1"/>
        </p:nvSpPr>
        <p:spPr>
          <a:xfrm>
            <a:off x="6369698"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55" name="Freeform 40">
            <a:extLst>
              <a:ext uri="{FF2B5EF4-FFF2-40B4-BE49-F238E27FC236}">
                <a16:creationId xmlns:a16="http://schemas.microsoft.com/office/drawing/2014/main" id="{4CE24F1C-51FC-4596-B3D1-14E286390651}"/>
              </a:ext>
            </a:extLst>
          </p:cNvPr>
          <p:cNvSpPr>
            <a:spLocks noChangeArrowheads="1"/>
          </p:cNvSpPr>
          <p:nvPr userDrawn="1"/>
        </p:nvSpPr>
        <p:spPr bwMode="auto">
          <a:xfrm>
            <a:off x="7194998" y="4308125"/>
            <a:ext cx="492437" cy="571442"/>
          </a:xfrm>
          <a:custGeom>
            <a:avLst/>
            <a:gdLst>
              <a:gd name="T0" fmla="*/ 532 w 547"/>
              <a:gd name="T1" fmla="*/ 304 h 479"/>
              <a:gd name="T2" fmla="*/ 358 w 547"/>
              <a:gd name="T3" fmla="*/ 0 h 479"/>
              <a:gd name="T4" fmla="*/ 184 w 547"/>
              <a:gd name="T5" fmla="*/ 0 h 479"/>
              <a:gd name="T6" fmla="*/ 358 w 547"/>
              <a:gd name="T7" fmla="*/ 304 h 479"/>
              <a:gd name="T8" fmla="*/ 532 w 547"/>
              <a:gd name="T9" fmla="*/ 304 h 479"/>
              <a:gd name="T10" fmla="*/ 213 w 547"/>
              <a:gd name="T11" fmla="*/ 328 h 479"/>
              <a:gd name="T12" fmla="*/ 126 w 547"/>
              <a:gd name="T13" fmla="*/ 478 h 479"/>
              <a:gd name="T14" fmla="*/ 459 w 547"/>
              <a:gd name="T15" fmla="*/ 478 h 479"/>
              <a:gd name="T16" fmla="*/ 546 w 547"/>
              <a:gd name="T17" fmla="*/ 328 h 479"/>
              <a:gd name="T18" fmla="*/ 213 w 547"/>
              <a:gd name="T19" fmla="*/ 328 h 479"/>
              <a:gd name="T20" fmla="*/ 164 w 547"/>
              <a:gd name="T21" fmla="*/ 38 h 479"/>
              <a:gd name="T22" fmla="*/ 0 w 547"/>
              <a:gd name="T23" fmla="*/ 328 h 479"/>
              <a:gd name="T24" fmla="*/ 82 w 547"/>
              <a:gd name="T25" fmla="*/ 478 h 479"/>
              <a:gd name="T26" fmla="*/ 251 w 547"/>
              <a:gd name="T27" fmla="*/ 188 h 479"/>
              <a:gd name="T28" fmla="*/ 164 w 547"/>
              <a:gd name="T29" fmla="*/ 3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479">
                <a:moveTo>
                  <a:pt x="532" y="304"/>
                </a:moveTo>
                <a:lnTo>
                  <a:pt x="358" y="0"/>
                </a:lnTo>
                <a:lnTo>
                  <a:pt x="184" y="0"/>
                </a:lnTo>
                <a:lnTo>
                  <a:pt x="358" y="304"/>
                </a:lnTo>
                <a:lnTo>
                  <a:pt x="532" y="304"/>
                </a:lnTo>
                <a:close/>
                <a:moveTo>
                  <a:pt x="213" y="328"/>
                </a:moveTo>
                <a:lnTo>
                  <a:pt x="126" y="478"/>
                </a:lnTo>
                <a:lnTo>
                  <a:pt x="459" y="478"/>
                </a:lnTo>
                <a:lnTo>
                  <a:pt x="546" y="328"/>
                </a:lnTo>
                <a:lnTo>
                  <a:pt x="213" y="328"/>
                </a:lnTo>
                <a:close/>
                <a:moveTo>
                  <a:pt x="164" y="38"/>
                </a:moveTo>
                <a:lnTo>
                  <a:pt x="0" y="328"/>
                </a:lnTo>
                <a:lnTo>
                  <a:pt x="82" y="478"/>
                </a:lnTo>
                <a:lnTo>
                  <a:pt x="251" y="188"/>
                </a:lnTo>
                <a:lnTo>
                  <a:pt x="164" y="38"/>
                </a:lnTo>
                <a:close/>
              </a:path>
            </a:pathLst>
          </a:custGeom>
          <a:solidFill>
            <a:schemeClr val="bg1"/>
          </a:solidFill>
          <a:ln>
            <a:noFill/>
          </a:ln>
          <a:effectLst/>
        </p:spPr>
        <p:txBody>
          <a:bodyPr wrap="none" anchor="ctr"/>
          <a:lstStyle/>
          <a:p>
            <a:endParaRPr lang="en-US" sz="2592" dirty="0"/>
          </a:p>
        </p:txBody>
      </p:sp>
      <p:sp>
        <p:nvSpPr>
          <p:cNvPr id="56" name="Freeform 8">
            <a:extLst>
              <a:ext uri="{FF2B5EF4-FFF2-40B4-BE49-F238E27FC236}">
                <a16:creationId xmlns:a16="http://schemas.microsoft.com/office/drawing/2014/main" id="{A6009874-6BE0-42F2-A64F-A47B73BAE7DC}"/>
              </a:ext>
            </a:extLst>
          </p:cNvPr>
          <p:cNvSpPr>
            <a:spLocks noChangeArrowheads="1"/>
          </p:cNvSpPr>
          <p:nvPr userDrawn="1"/>
        </p:nvSpPr>
        <p:spPr bwMode="auto">
          <a:xfrm>
            <a:off x="4299162" y="1449371"/>
            <a:ext cx="545676" cy="655408"/>
          </a:xfrm>
          <a:custGeom>
            <a:avLst/>
            <a:gdLst>
              <a:gd name="T0" fmla="*/ 272 w 540"/>
              <a:gd name="T1" fmla="*/ 0 h 489"/>
              <a:gd name="T2" fmla="*/ 0 w 540"/>
              <a:gd name="T3" fmla="*/ 488 h 489"/>
              <a:gd name="T4" fmla="*/ 539 w 540"/>
              <a:gd name="T5" fmla="*/ 108 h 489"/>
              <a:gd name="T6" fmla="*/ 108 w 540"/>
              <a:gd name="T7" fmla="*/ 432 h 489"/>
              <a:gd name="T8" fmla="*/ 56 w 540"/>
              <a:gd name="T9" fmla="*/ 380 h 489"/>
              <a:gd name="T10" fmla="*/ 108 w 540"/>
              <a:gd name="T11" fmla="*/ 432 h 489"/>
              <a:gd name="T12" fmla="*/ 56 w 540"/>
              <a:gd name="T13" fmla="*/ 324 h 489"/>
              <a:gd name="T14" fmla="*/ 108 w 540"/>
              <a:gd name="T15" fmla="*/ 272 h 489"/>
              <a:gd name="T16" fmla="*/ 108 w 540"/>
              <a:gd name="T17" fmla="*/ 216 h 489"/>
              <a:gd name="T18" fmla="*/ 56 w 540"/>
              <a:gd name="T19" fmla="*/ 164 h 489"/>
              <a:gd name="T20" fmla="*/ 108 w 540"/>
              <a:gd name="T21" fmla="*/ 216 h 489"/>
              <a:gd name="T22" fmla="*/ 56 w 540"/>
              <a:gd name="T23" fmla="*/ 108 h 489"/>
              <a:gd name="T24" fmla="*/ 108 w 540"/>
              <a:gd name="T25" fmla="*/ 56 h 489"/>
              <a:gd name="T26" fmla="*/ 216 w 540"/>
              <a:gd name="T27" fmla="*/ 432 h 489"/>
              <a:gd name="T28" fmla="*/ 164 w 540"/>
              <a:gd name="T29" fmla="*/ 380 h 489"/>
              <a:gd name="T30" fmla="*/ 216 w 540"/>
              <a:gd name="T31" fmla="*/ 432 h 489"/>
              <a:gd name="T32" fmla="*/ 164 w 540"/>
              <a:gd name="T33" fmla="*/ 324 h 489"/>
              <a:gd name="T34" fmla="*/ 216 w 540"/>
              <a:gd name="T35" fmla="*/ 272 h 489"/>
              <a:gd name="T36" fmla="*/ 216 w 540"/>
              <a:gd name="T37" fmla="*/ 216 h 489"/>
              <a:gd name="T38" fmla="*/ 164 w 540"/>
              <a:gd name="T39" fmla="*/ 164 h 489"/>
              <a:gd name="T40" fmla="*/ 216 w 540"/>
              <a:gd name="T41" fmla="*/ 216 h 489"/>
              <a:gd name="T42" fmla="*/ 164 w 540"/>
              <a:gd name="T43" fmla="*/ 108 h 489"/>
              <a:gd name="T44" fmla="*/ 216 w 540"/>
              <a:gd name="T45" fmla="*/ 56 h 489"/>
              <a:gd name="T46" fmla="*/ 488 w 540"/>
              <a:gd name="T47" fmla="*/ 432 h 489"/>
              <a:gd name="T48" fmla="*/ 272 w 540"/>
              <a:gd name="T49" fmla="*/ 380 h 489"/>
              <a:gd name="T50" fmla="*/ 324 w 540"/>
              <a:gd name="T51" fmla="*/ 324 h 489"/>
              <a:gd name="T52" fmla="*/ 272 w 540"/>
              <a:gd name="T53" fmla="*/ 272 h 489"/>
              <a:gd name="T54" fmla="*/ 324 w 540"/>
              <a:gd name="T55" fmla="*/ 216 h 489"/>
              <a:gd name="T56" fmla="*/ 272 w 540"/>
              <a:gd name="T57" fmla="*/ 164 h 489"/>
              <a:gd name="T58" fmla="*/ 488 w 540"/>
              <a:gd name="T59" fmla="*/ 432 h 489"/>
              <a:gd name="T60" fmla="*/ 380 w 540"/>
              <a:gd name="T61" fmla="*/ 216 h 489"/>
              <a:gd name="T62" fmla="*/ 432 w 540"/>
              <a:gd name="T63" fmla="*/ 272 h 489"/>
              <a:gd name="T64" fmla="*/ 432 w 540"/>
              <a:gd name="T65" fmla="*/ 324 h 489"/>
              <a:gd name="T66" fmla="*/ 380 w 540"/>
              <a:gd name="T67" fmla="*/ 380 h 489"/>
              <a:gd name="T68" fmla="*/ 432 w 540"/>
              <a:gd name="T69" fmla="*/ 32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0" h="489">
                <a:moveTo>
                  <a:pt x="272" y="108"/>
                </a:moveTo>
                <a:lnTo>
                  <a:pt x="272" y="0"/>
                </a:lnTo>
                <a:lnTo>
                  <a:pt x="0" y="0"/>
                </a:lnTo>
                <a:lnTo>
                  <a:pt x="0" y="488"/>
                </a:lnTo>
                <a:lnTo>
                  <a:pt x="539" y="488"/>
                </a:lnTo>
                <a:lnTo>
                  <a:pt x="539" y="108"/>
                </a:lnTo>
                <a:lnTo>
                  <a:pt x="272" y="108"/>
                </a:lnTo>
                <a:close/>
                <a:moveTo>
                  <a:pt x="108" y="432"/>
                </a:moveTo>
                <a:lnTo>
                  <a:pt x="56" y="432"/>
                </a:lnTo>
                <a:lnTo>
                  <a:pt x="56" y="380"/>
                </a:lnTo>
                <a:lnTo>
                  <a:pt x="108" y="380"/>
                </a:lnTo>
                <a:lnTo>
                  <a:pt x="108" y="432"/>
                </a:lnTo>
                <a:close/>
                <a:moveTo>
                  <a:pt x="108" y="324"/>
                </a:moveTo>
                <a:lnTo>
                  <a:pt x="56" y="324"/>
                </a:lnTo>
                <a:lnTo>
                  <a:pt x="56" y="272"/>
                </a:lnTo>
                <a:lnTo>
                  <a:pt x="108" y="272"/>
                </a:lnTo>
                <a:lnTo>
                  <a:pt x="108" y="324"/>
                </a:lnTo>
                <a:close/>
                <a:moveTo>
                  <a:pt x="108" y="216"/>
                </a:moveTo>
                <a:lnTo>
                  <a:pt x="56" y="216"/>
                </a:lnTo>
                <a:lnTo>
                  <a:pt x="56" y="164"/>
                </a:lnTo>
                <a:lnTo>
                  <a:pt x="108" y="164"/>
                </a:lnTo>
                <a:lnTo>
                  <a:pt x="108" y="216"/>
                </a:lnTo>
                <a:close/>
                <a:moveTo>
                  <a:pt x="108" y="108"/>
                </a:moveTo>
                <a:lnTo>
                  <a:pt x="56" y="108"/>
                </a:lnTo>
                <a:lnTo>
                  <a:pt x="56" y="56"/>
                </a:lnTo>
                <a:lnTo>
                  <a:pt x="108" y="56"/>
                </a:lnTo>
                <a:lnTo>
                  <a:pt x="108" y="108"/>
                </a:lnTo>
                <a:close/>
                <a:moveTo>
                  <a:pt x="216" y="432"/>
                </a:moveTo>
                <a:lnTo>
                  <a:pt x="164" y="432"/>
                </a:lnTo>
                <a:lnTo>
                  <a:pt x="164" y="380"/>
                </a:lnTo>
                <a:lnTo>
                  <a:pt x="216" y="380"/>
                </a:lnTo>
                <a:lnTo>
                  <a:pt x="216" y="432"/>
                </a:lnTo>
                <a:close/>
                <a:moveTo>
                  <a:pt x="216" y="324"/>
                </a:moveTo>
                <a:lnTo>
                  <a:pt x="164" y="324"/>
                </a:lnTo>
                <a:lnTo>
                  <a:pt x="164" y="272"/>
                </a:lnTo>
                <a:lnTo>
                  <a:pt x="216" y="272"/>
                </a:lnTo>
                <a:lnTo>
                  <a:pt x="216" y="324"/>
                </a:lnTo>
                <a:close/>
                <a:moveTo>
                  <a:pt x="216" y="216"/>
                </a:moveTo>
                <a:lnTo>
                  <a:pt x="164" y="216"/>
                </a:lnTo>
                <a:lnTo>
                  <a:pt x="164" y="164"/>
                </a:lnTo>
                <a:lnTo>
                  <a:pt x="216" y="164"/>
                </a:lnTo>
                <a:lnTo>
                  <a:pt x="216" y="216"/>
                </a:lnTo>
                <a:close/>
                <a:moveTo>
                  <a:pt x="216" y="108"/>
                </a:moveTo>
                <a:lnTo>
                  <a:pt x="164" y="108"/>
                </a:lnTo>
                <a:lnTo>
                  <a:pt x="164" y="56"/>
                </a:lnTo>
                <a:lnTo>
                  <a:pt x="216" y="56"/>
                </a:lnTo>
                <a:lnTo>
                  <a:pt x="216" y="108"/>
                </a:lnTo>
                <a:close/>
                <a:moveTo>
                  <a:pt x="488" y="432"/>
                </a:moveTo>
                <a:lnTo>
                  <a:pt x="272" y="432"/>
                </a:lnTo>
                <a:lnTo>
                  <a:pt x="272" y="380"/>
                </a:lnTo>
                <a:lnTo>
                  <a:pt x="324" y="380"/>
                </a:lnTo>
                <a:lnTo>
                  <a:pt x="324" y="324"/>
                </a:lnTo>
                <a:lnTo>
                  <a:pt x="272" y="324"/>
                </a:lnTo>
                <a:lnTo>
                  <a:pt x="272" y="272"/>
                </a:lnTo>
                <a:lnTo>
                  <a:pt x="324" y="272"/>
                </a:lnTo>
                <a:lnTo>
                  <a:pt x="324" y="216"/>
                </a:lnTo>
                <a:lnTo>
                  <a:pt x="272" y="216"/>
                </a:lnTo>
                <a:lnTo>
                  <a:pt x="272" y="164"/>
                </a:lnTo>
                <a:lnTo>
                  <a:pt x="488" y="164"/>
                </a:lnTo>
                <a:lnTo>
                  <a:pt x="488" y="432"/>
                </a:lnTo>
                <a:close/>
                <a:moveTo>
                  <a:pt x="432" y="216"/>
                </a:moveTo>
                <a:lnTo>
                  <a:pt x="380" y="216"/>
                </a:lnTo>
                <a:lnTo>
                  <a:pt x="380" y="272"/>
                </a:lnTo>
                <a:lnTo>
                  <a:pt x="432" y="272"/>
                </a:lnTo>
                <a:lnTo>
                  <a:pt x="432" y="216"/>
                </a:lnTo>
                <a:close/>
                <a:moveTo>
                  <a:pt x="432" y="324"/>
                </a:moveTo>
                <a:lnTo>
                  <a:pt x="380" y="324"/>
                </a:lnTo>
                <a:lnTo>
                  <a:pt x="380" y="380"/>
                </a:lnTo>
                <a:lnTo>
                  <a:pt x="432" y="380"/>
                </a:lnTo>
                <a:lnTo>
                  <a:pt x="432" y="324"/>
                </a:lnTo>
                <a:close/>
              </a:path>
            </a:pathLst>
          </a:custGeom>
          <a:solidFill>
            <a:schemeClr val="bg1"/>
          </a:solidFill>
          <a:ln>
            <a:noFill/>
          </a:ln>
          <a:effectLst/>
        </p:spPr>
        <p:txBody>
          <a:bodyPr wrap="none" anchor="ctr"/>
          <a:lstStyle/>
          <a:p>
            <a:endParaRPr lang="en-US" sz="2592" dirty="0">
              <a:solidFill>
                <a:schemeClr val="bg1"/>
              </a:solidFill>
            </a:endParaRPr>
          </a:p>
        </p:txBody>
      </p:sp>
      <p:sp>
        <p:nvSpPr>
          <p:cNvPr id="57" name="Freeform 35">
            <a:extLst>
              <a:ext uri="{FF2B5EF4-FFF2-40B4-BE49-F238E27FC236}">
                <a16:creationId xmlns:a16="http://schemas.microsoft.com/office/drawing/2014/main" id="{05AD86D8-E9D5-4122-B05C-B523909F7620}"/>
              </a:ext>
            </a:extLst>
          </p:cNvPr>
          <p:cNvSpPr>
            <a:spLocks noChangeArrowheads="1"/>
          </p:cNvSpPr>
          <p:nvPr userDrawn="1"/>
        </p:nvSpPr>
        <p:spPr bwMode="auto">
          <a:xfrm>
            <a:off x="7196394" y="1456509"/>
            <a:ext cx="489640" cy="641130"/>
          </a:xfrm>
          <a:custGeom>
            <a:avLst/>
            <a:gdLst>
              <a:gd name="T0" fmla="*/ 267 w 541"/>
              <a:gd name="T1" fmla="*/ 0 h 540"/>
              <a:gd name="T2" fmla="*/ 0 w 541"/>
              <a:gd name="T3" fmla="*/ 272 h 540"/>
              <a:gd name="T4" fmla="*/ 267 w 541"/>
              <a:gd name="T5" fmla="*/ 539 h 540"/>
              <a:gd name="T6" fmla="*/ 540 w 541"/>
              <a:gd name="T7" fmla="*/ 272 h 540"/>
              <a:gd name="T8" fmla="*/ 267 w 541"/>
              <a:gd name="T9" fmla="*/ 0 h 540"/>
              <a:gd name="T10" fmla="*/ 242 w 541"/>
              <a:gd name="T11" fmla="*/ 483 h 540"/>
              <a:gd name="T12" fmla="*/ 52 w 541"/>
              <a:gd name="T13" fmla="*/ 272 h 540"/>
              <a:gd name="T14" fmla="*/ 57 w 541"/>
              <a:gd name="T15" fmla="*/ 221 h 540"/>
              <a:gd name="T16" fmla="*/ 190 w 541"/>
              <a:gd name="T17" fmla="*/ 349 h 540"/>
              <a:gd name="T18" fmla="*/ 190 w 541"/>
              <a:gd name="T19" fmla="*/ 375 h 540"/>
              <a:gd name="T20" fmla="*/ 242 w 541"/>
              <a:gd name="T21" fmla="*/ 431 h 540"/>
              <a:gd name="T22" fmla="*/ 242 w 541"/>
              <a:gd name="T23" fmla="*/ 483 h 540"/>
              <a:gd name="T24" fmla="*/ 427 w 541"/>
              <a:gd name="T25" fmla="*/ 416 h 540"/>
              <a:gd name="T26" fmla="*/ 375 w 541"/>
              <a:gd name="T27" fmla="*/ 375 h 540"/>
              <a:gd name="T28" fmla="*/ 350 w 541"/>
              <a:gd name="T29" fmla="*/ 375 h 540"/>
              <a:gd name="T30" fmla="*/ 350 w 541"/>
              <a:gd name="T31" fmla="*/ 298 h 540"/>
              <a:gd name="T32" fmla="*/ 324 w 541"/>
              <a:gd name="T33" fmla="*/ 272 h 540"/>
              <a:gd name="T34" fmla="*/ 160 w 541"/>
              <a:gd name="T35" fmla="*/ 272 h 540"/>
              <a:gd name="T36" fmla="*/ 160 w 541"/>
              <a:gd name="T37" fmla="*/ 215 h 540"/>
              <a:gd name="T38" fmla="*/ 216 w 541"/>
              <a:gd name="T39" fmla="*/ 215 h 540"/>
              <a:gd name="T40" fmla="*/ 242 w 541"/>
              <a:gd name="T41" fmla="*/ 190 h 540"/>
              <a:gd name="T42" fmla="*/ 242 w 541"/>
              <a:gd name="T43" fmla="*/ 133 h 540"/>
              <a:gd name="T44" fmla="*/ 293 w 541"/>
              <a:gd name="T45" fmla="*/ 133 h 540"/>
              <a:gd name="T46" fmla="*/ 350 w 541"/>
              <a:gd name="T47" fmla="*/ 82 h 540"/>
              <a:gd name="T48" fmla="*/ 350 w 541"/>
              <a:gd name="T49" fmla="*/ 72 h 540"/>
              <a:gd name="T50" fmla="*/ 483 w 541"/>
              <a:gd name="T51" fmla="*/ 272 h 540"/>
              <a:gd name="T52" fmla="*/ 427 w 541"/>
              <a:gd name="T53" fmla="*/ 416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540">
                <a:moveTo>
                  <a:pt x="267" y="0"/>
                </a:moveTo>
                <a:cubicBezTo>
                  <a:pt x="118" y="0"/>
                  <a:pt x="0" y="126"/>
                  <a:pt x="0" y="272"/>
                </a:cubicBezTo>
                <a:cubicBezTo>
                  <a:pt x="0" y="418"/>
                  <a:pt x="118" y="539"/>
                  <a:pt x="267" y="539"/>
                </a:cubicBezTo>
                <a:cubicBezTo>
                  <a:pt x="417" y="539"/>
                  <a:pt x="540" y="418"/>
                  <a:pt x="540" y="272"/>
                </a:cubicBezTo>
                <a:cubicBezTo>
                  <a:pt x="540" y="126"/>
                  <a:pt x="417" y="0"/>
                  <a:pt x="267" y="0"/>
                </a:cubicBezTo>
                <a:close/>
                <a:moveTo>
                  <a:pt x="242" y="483"/>
                </a:moveTo>
                <a:cubicBezTo>
                  <a:pt x="139" y="467"/>
                  <a:pt x="52" y="375"/>
                  <a:pt x="52" y="272"/>
                </a:cubicBezTo>
                <a:cubicBezTo>
                  <a:pt x="52" y="251"/>
                  <a:pt x="57" y="236"/>
                  <a:pt x="57" y="221"/>
                </a:cubicBezTo>
                <a:lnTo>
                  <a:pt x="190" y="349"/>
                </a:lnTo>
                <a:lnTo>
                  <a:pt x="190" y="375"/>
                </a:lnTo>
                <a:cubicBezTo>
                  <a:pt x="190" y="406"/>
                  <a:pt x="211" y="431"/>
                  <a:pt x="242" y="431"/>
                </a:cubicBezTo>
                <a:lnTo>
                  <a:pt x="242" y="483"/>
                </a:lnTo>
                <a:close/>
                <a:moveTo>
                  <a:pt x="427" y="416"/>
                </a:moveTo>
                <a:cubicBezTo>
                  <a:pt x="422" y="395"/>
                  <a:pt x="401" y="375"/>
                  <a:pt x="375" y="375"/>
                </a:cubicBezTo>
                <a:lnTo>
                  <a:pt x="350" y="375"/>
                </a:lnTo>
                <a:lnTo>
                  <a:pt x="350" y="298"/>
                </a:lnTo>
                <a:cubicBezTo>
                  <a:pt x="350" y="282"/>
                  <a:pt x="339" y="272"/>
                  <a:pt x="324" y="272"/>
                </a:cubicBezTo>
                <a:lnTo>
                  <a:pt x="160" y="272"/>
                </a:lnTo>
                <a:lnTo>
                  <a:pt x="160" y="215"/>
                </a:lnTo>
                <a:lnTo>
                  <a:pt x="216" y="215"/>
                </a:lnTo>
                <a:cubicBezTo>
                  <a:pt x="232" y="215"/>
                  <a:pt x="242" y="205"/>
                  <a:pt x="242" y="190"/>
                </a:cubicBezTo>
                <a:lnTo>
                  <a:pt x="242" y="133"/>
                </a:lnTo>
                <a:lnTo>
                  <a:pt x="293" y="133"/>
                </a:lnTo>
                <a:cubicBezTo>
                  <a:pt x="324" y="133"/>
                  <a:pt x="350" y="113"/>
                  <a:pt x="350" y="82"/>
                </a:cubicBezTo>
                <a:lnTo>
                  <a:pt x="350" y="72"/>
                </a:lnTo>
                <a:cubicBezTo>
                  <a:pt x="427" y="102"/>
                  <a:pt x="483" y="179"/>
                  <a:pt x="483" y="272"/>
                </a:cubicBezTo>
                <a:cubicBezTo>
                  <a:pt x="483" y="329"/>
                  <a:pt x="463" y="375"/>
                  <a:pt x="427" y="416"/>
                </a:cubicBezTo>
                <a:close/>
              </a:path>
            </a:pathLst>
          </a:custGeom>
          <a:solidFill>
            <a:schemeClr val="bg1"/>
          </a:solidFill>
          <a:ln>
            <a:noFill/>
          </a:ln>
          <a:effectLst/>
        </p:spPr>
        <p:txBody>
          <a:bodyPr wrap="none" anchor="ctr"/>
          <a:lstStyle/>
          <a:p>
            <a:endParaRPr lang="en-US" sz="2592" dirty="0"/>
          </a:p>
        </p:txBody>
      </p:sp>
      <p:sp>
        <p:nvSpPr>
          <p:cNvPr id="58" name="Freeform 36">
            <a:extLst>
              <a:ext uri="{FF2B5EF4-FFF2-40B4-BE49-F238E27FC236}">
                <a16:creationId xmlns:a16="http://schemas.microsoft.com/office/drawing/2014/main" id="{1BEF0673-926C-4EBE-B779-28877227A9A1}"/>
              </a:ext>
            </a:extLst>
          </p:cNvPr>
          <p:cNvSpPr>
            <a:spLocks noChangeArrowheads="1"/>
          </p:cNvSpPr>
          <p:nvPr userDrawn="1"/>
        </p:nvSpPr>
        <p:spPr bwMode="auto">
          <a:xfrm>
            <a:off x="1393564" y="4255692"/>
            <a:ext cx="618449" cy="676308"/>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chemeClr val="bg1"/>
          </a:solidFill>
          <a:ln>
            <a:noFill/>
          </a:ln>
          <a:effectLst/>
        </p:spPr>
        <p:txBody>
          <a:bodyPr wrap="none" anchor="ctr"/>
          <a:lstStyle/>
          <a:p>
            <a:endParaRPr lang="en-US" sz="2592" dirty="0"/>
          </a:p>
        </p:txBody>
      </p:sp>
      <p:sp>
        <p:nvSpPr>
          <p:cNvPr id="59" name="Freeform 48">
            <a:extLst>
              <a:ext uri="{FF2B5EF4-FFF2-40B4-BE49-F238E27FC236}">
                <a16:creationId xmlns:a16="http://schemas.microsoft.com/office/drawing/2014/main" id="{C2C928B7-2B00-4064-A883-4EBD5FAEDE2E}"/>
              </a:ext>
            </a:extLst>
          </p:cNvPr>
          <p:cNvSpPr>
            <a:spLocks noChangeArrowheads="1"/>
          </p:cNvSpPr>
          <p:nvPr userDrawn="1"/>
        </p:nvSpPr>
        <p:spPr bwMode="auto">
          <a:xfrm>
            <a:off x="4299741" y="4234429"/>
            <a:ext cx="544523" cy="718843"/>
          </a:xfrm>
          <a:custGeom>
            <a:avLst/>
            <a:gdLst>
              <a:gd name="T0" fmla="*/ 298 w 592"/>
              <a:gd name="T1" fmla="*/ 118 h 592"/>
              <a:gd name="T2" fmla="*/ 339 w 592"/>
              <a:gd name="T3" fmla="*/ 82 h 592"/>
              <a:gd name="T4" fmla="*/ 334 w 592"/>
              <a:gd name="T5" fmla="*/ 56 h 592"/>
              <a:gd name="T6" fmla="*/ 298 w 592"/>
              <a:gd name="T7" fmla="*/ 0 h 592"/>
              <a:gd name="T8" fmla="*/ 262 w 592"/>
              <a:gd name="T9" fmla="*/ 56 h 592"/>
              <a:gd name="T10" fmla="*/ 257 w 592"/>
              <a:gd name="T11" fmla="*/ 82 h 592"/>
              <a:gd name="T12" fmla="*/ 298 w 592"/>
              <a:gd name="T13" fmla="*/ 118 h 592"/>
              <a:gd name="T14" fmla="*/ 473 w 592"/>
              <a:gd name="T15" fmla="*/ 185 h 592"/>
              <a:gd name="T16" fmla="*/ 324 w 592"/>
              <a:gd name="T17" fmla="*/ 185 h 592"/>
              <a:gd name="T18" fmla="*/ 324 w 592"/>
              <a:gd name="T19" fmla="*/ 149 h 592"/>
              <a:gd name="T20" fmla="*/ 273 w 592"/>
              <a:gd name="T21" fmla="*/ 149 h 592"/>
              <a:gd name="T22" fmla="*/ 273 w 592"/>
              <a:gd name="T23" fmla="*/ 185 h 592"/>
              <a:gd name="T24" fmla="*/ 124 w 592"/>
              <a:gd name="T25" fmla="*/ 185 h 592"/>
              <a:gd name="T26" fmla="*/ 0 w 592"/>
              <a:gd name="T27" fmla="*/ 308 h 592"/>
              <a:gd name="T28" fmla="*/ 57 w 592"/>
              <a:gd name="T29" fmla="*/ 406 h 592"/>
              <a:gd name="T30" fmla="*/ 57 w 592"/>
              <a:gd name="T31" fmla="*/ 591 h 592"/>
              <a:gd name="T32" fmla="*/ 540 w 592"/>
              <a:gd name="T33" fmla="*/ 591 h 592"/>
              <a:gd name="T34" fmla="*/ 540 w 592"/>
              <a:gd name="T35" fmla="*/ 406 h 592"/>
              <a:gd name="T36" fmla="*/ 591 w 592"/>
              <a:gd name="T37" fmla="*/ 308 h 592"/>
              <a:gd name="T38" fmla="*/ 473 w 592"/>
              <a:gd name="T39" fmla="*/ 185 h 592"/>
              <a:gd name="T40" fmla="*/ 473 w 592"/>
              <a:gd name="T41" fmla="*/ 375 h 592"/>
              <a:gd name="T42" fmla="*/ 422 w 592"/>
              <a:gd name="T43" fmla="*/ 354 h 592"/>
              <a:gd name="T44" fmla="*/ 386 w 592"/>
              <a:gd name="T45" fmla="*/ 318 h 592"/>
              <a:gd name="T46" fmla="*/ 344 w 592"/>
              <a:gd name="T47" fmla="*/ 354 h 592"/>
              <a:gd name="T48" fmla="*/ 298 w 592"/>
              <a:gd name="T49" fmla="*/ 375 h 592"/>
              <a:gd name="T50" fmla="*/ 247 w 592"/>
              <a:gd name="T51" fmla="*/ 354 h 592"/>
              <a:gd name="T52" fmla="*/ 211 w 592"/>
              <a:gd name="T53" fmla="*/ 318 h 592"/>
              <a:gd name="T54" fmla="*/ 170 w 592"/>
              <a:gd name="T55" fmla="*/ 354 h 592"/>
              <a:gd name="T56" fmla="*/ 124 w 592"/>
              <a:gd name="T57" fmla="*/ 375 h 592"/>
              <a:gd name="T58" fmla="*/ 57 w 592"/>
              <a:gd name="T59" fmla="*/ 308 h 592"/>
              <a:gd name="T60" fmla="*/ 124 w 592"/>
              <a:gd name="T61" fmla="*/ 241 h 592"/>
              <a:gd name="T62" fmla="*/ 473 w 592"/>
              <a:gd name="T63" fmla="*/ 241 h 592"/>
              <a:gd name="T64" fmla="*/ 540 w 592"/>
              <a:gd name="T65" fmla="*/ 308 h 592"/>
              <a:gd name="T66" fmla="*/ 473 w 592"/>
              <a:gd name="T67" fmla="*/ 375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2" h="592">
                <a:moveTo>
                  <a:pt x="298" y="118"/>
                </a:moveTo>
                <a:cubicBezTo>
                  <a:pt x="319" y="118"/>
                  <a:pt x="339" y="102"/>
                  <a:pt x="339" y="82"/>
                </a:cubicBezTo>
                <a:cubicBezTo>
                  <a:pt x="339" y="72"/>
                  <a:pt x="334" y="66"/>
                  <a:pt x="334" y="56"/>
                </a:cubicBezTo>
                <a:lnTo>
                  <a:pt x="298" y="0"/>
                </a:lnTo>
                <a:lnTo>
                  <a:pt x="262" y="56"/>
                </a:lnTo>
                <a:cubicBezTo>
                  <a:pt x="257" y="61"/>
                  <a:pt x="257" y="72"/>
                  <a:pt x="257" y="82"/>
                </a:cubicBezTo>
                <a:cubicBezTo>
                  <a:pt x="257" y="102"/>
                  <a:pt x="278" y="118"/>
                  <a:pt x="298" y="118"/>
                </a:cubicBezTo>
                <a:close/>
                <a:moveTo>
                  <a:pt x="473" y="185"/>
                </a:moveTo>
                <a:lnTo>
                  <a:pt x="324" y="185"/>
                </a:lnTo>
                <a:lnTo>
                  <a:pt x="324" y="149"/>
                </a:lnTo>
                <a:lnTo>
                  <a:pt x="273" y="149"/>
                </a:lnTo>
                <a:lnTo>
                  <a:pt x="273" y="185"/>
                </a:lnTo>
                <a:lnTo>
                  <a:pt x="124" y="185"/>
                </a:lnTo>
                <a:cubicBezTo>
                  <a:pt x="57" y="185"/>
                  <a:pt x="0" y="241"/>
                  <a:pt x="0" y="308"/>
                </a:cubicBezTo>
                <a:cubicBezTo>
                  <a:pt x="0" y="349"/>
                  <a:pt x="21" y="385"/>
                  <a:pt x="57" y="406"/>
                </a:cubicBezTo>
                <a:lnTo>
                  <a:pt x="57" y="591"/>
                </a:lnTo>
                <a:lnTo>
                  <a:pt x="540" y="591"/>
                </a:lnTo>
                <a:lnTo>
                  <a:pt x="540" y="406"/>
                </a:lnTo>
                <a:cubicBezTo>
                  <a:pt x="571" y="385"/>
                  <a:pt x="591" y="349"/>
                  <a:pt x="591" y="308"/>
                </a:cubicBezTo>
                <a:cubicBezTo>
                  <a:pt x="591" y="241"/>
                  <a:pt x="540" y="185"/>
                  <a:pt x="473" y="185"/>
                </a:cubicBezTo>
                <a:close/>
                <a:moveTo>
                  <a:pt x="473" y="375"/>
                </a:moveTo>
                <a:cubicBezTo>
                  <a:pt x="452" y="375"/>
                  <a:pt x="437" y="365"/>
                  <a:pt x="422" y="354"/>
                </a:cubicBezTo>
                <a:lnTo>
                  <a:pt x="386" y="318"/>
                </a:lnTo>
                <a:lnTo>
                  <a:pt x="344" y="354"/>
                </a:lnTo>
                <a:cubicBezTo>
                  <a:pt x="334" y="365"/>
                  <a:pt x="316" y="375"/>
                  <a:pt x="298" y="375"/>
                </a:cubicBezTo>
                <a:cubicBezTo>
                  <a:pt x="280" y="375"/>
                  <a:pt x="262" y="365"/>
                  <a:pt x="247" y="354"/>
                </a:cubicBezTo>
                <a:lnTo>
                  <a:pt x="211" y="318"/>
                </a:lnTo>
                <a:lnTo>
                  <a:pt x="170" y="354"/>
                </a:lnTo>
                <a:cubicBezTo>
                  <a:pt x="159" y="365"/>
                  <a:pt x="139" y="375"/>
                  <a:pt x="124" y="375"/>
                </a:cubicBezTo>
                <a:cubicBezTo>
                  <a:pt x="82" y="375"/>
                  <a:pt x="57" y="344"/>
                  <a:pt x="57" y="308"/>
                </a:cubicBezTo>
                <a:cubicBezTo>
                  <a:pt x="57" y="272"/>
                  <a:pt x="82" y="241"/>
                  <a:pt x="124" y="241"/>
                </a:cubicBezTo>
                <a:lnTo>
                  <a:pt x="473" y="241"/>
                </a:lnTo>
                <a:cubicBezTo>
                  <a:pt x="509" y="241"/>
                  <a:pt x="540" y="272"/>
                  <a:pt x="540" y="308"/>
                </a:cubicBezTo>
                <a:cubicBezTo>
                  <a:pt x="540" y="344"/>
                  <a:pt x="509" y="375"/>
                  <a:pt x="473" y="375"/>
                </a:cubicBezTo>
                <a:close/>
              </a:path>
            </a:pathLst>
          </a:custGeom>
          <a:solidFill>
            <a:schemeClr val="bg1"/>
          </a:solidFill>
          <a:ln>
            <a:solidFill>
              <a:schemeClr val="bg1">
                <a:lumMod val="50000"/>
              </a:schemeClr>
            </a:solidFill>
          </a:ln>
          <a:effectLst/>
        </p:spPr>
        <p:txBody>
          <a:bodyPr wrap="none" anchor="ctr"/>
          <a:lstStyle/>
          <a:p>
            <a:endParaRPr lang="en-US" sz="2592" dirty="0"/>
          </a:p>
        </p:txBody>
      </p:sp>
    </p:spTree>
    <p:extLst>
      <p:ext uri="{BB962C8B-B14F-4D97-AF65-F5344CB8AC3E}">
        <p14:creationId xmlns:p14="http://schemas.microsoft.com/office/powerpoint/2010/main" val="30951824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747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A663A946-9556-416B-B996-4D170984C005}" type="datetime1">
              <a:rPr lang="en-US" smtClean="0"/>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4" name="Picture 6" descr="Image result for hanging lamp image">
            <a:extLst>
              <a:ext uri="{FF2B5EF4-FFF2-40B4-BE49-F238E27FC236}">
                <a16:creationId xmlns:a16="http://schemas.microsoft.com/office/drawing/2014/main" id="{BD23D39C-790F-4DF8-869E-DD2EA663B57D}"/>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3109"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a:extLst>
              <a:ext uri="{FF2B5EF4-FFF2-40B4-BE49-F238E27FC236}">
                <a16:creationId xmlns:a16="http://schemas.microsoft.com/office/drawing/2014/main" id="{4C6C11F9-4367-4C8D-BEB9-0BFE5D7DB090}"/>
              </a:ext>
            </a:extLst>
          </p:cNvPr>
          <p:cNvSpPr/>
          <p:nvPr/>
        </p:nvSpPr>
        <p:spPr>
          <a:xfrm>
            <a:off x="904725"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6" name="Group 25">
            <a:extLst>
              <a:ext uri="{FF2B5EF4-FFF2-40B4-BE49-F238E27FC236}">
                <a16:creationId xmlns:a16="http://schemas.microsoft.com/office/drawing/2014/main" id="{48E97686-C7C1-4BFD-A332-6DE906CEC62A}"/>
              </a:ext>
            </a:extLst>
          </p:cNvPr>
          <p:cNvGrpSpPr/>
          <p:nvPr/>
        </p:nvGrpSpPr>
        <p:grpSpPr>
          <a:xfrm>
            <a:off x="906533" y="3187879"/>
            <a:ext cx="1052673" cy="1403564"/>
            <a:chOff x="926067" y="3393874"/>
            <a:chExt cx="1691166" cy="1691166"/>
          </a:xfrm>
        </p:grpSpPr>
        <p:sp>
          <p:nvSpPr>
            <p:cNvPr id="31" name="Rectangle 30">
              <a:extLst>
                <a:ext uri="{FF2B5EF4-FFF2-40B4-BE49-F238E27FC236}">
                  <a16:creationId xmlns:a16="http://schemas.microsoft.com/office/drawing/2014/main" id="{AD072D69-2FCB-4AAF-A112-0D4FD55804A1}"/>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Oval 96">
              <a:extLst>
                <a:ext uri="{FF2B5EF4-FFF2-40B4-BE49-F238E27FC236}">
                  <a16:creationId xmlns:a16="http://schemas.microsoft.com/office/drawing/2014/main" id="{BB422F26-48A0-4235-B181-C8B48AC08DBC}"/>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3" name="Freeform 97">
              <a:extLst>
                <a:ext uri="{FF2B5EF4-FFF2-40B4-BE49-F238E27FC236}">
                  <a16:creationId xmlns:a16="http://schemas.microsoft.com/office/drawing/2014/main" id="{3D75F358-7298-4284-B658-295572EA0CB7}"/>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28" name="TextBox 27">
            <a:extLst>
              <a:ext uri="{FF2B5EF4-FFF2-40B4-BE49-F238E27FC236}">
                <a16:creationId xmlns:a16="http://schemas.microsoft.com/office/drawing/2014/main" id="{95B9C0CC-BAB1-490E-8E1C-DEE0E218BA41}"/>
              </a:ext>
            </a:extLst>
          </p:cNvPr>
          <p:cNvSpPr txBox="1"/>
          <p:nvPr/>
        </p:nvSpPr>
        <p:spPr>
          <a:xfrm>
            <a:off x="679121" y="4802691"/>
            <a:ext cx="1507497" cy="338554"/>
          </a:xfrm>
          <a:prstGeom prst="rect">
            <a:avLst/>
          </a:prstGeom>
          <a:noFill/>
        </p:spPr>
        <p:txBody>
          <a:bodyPr wrap="square" rtlCol="0">
            <a:spAutoFit/>
          </a:bodyPr>
          <a:lstStyle/>
          <a:p>
            <a:pPr algn="ctr"/>
            <a:r>
              <a:rPr lang="en-US" sz="1600" b="1" dirty="0">
                <a:solidFill>
                  <a:srgbClr val="0070C0"/>
                </a:solidFill>
              </a:rPr>
              <a:t>Text 1</a:t>
            </a:r>
          </a:p>
        </p:txBody>
      </p:sp>
      <p:sp>
        <p:nvSpPr>
          <p:cNvPr id="29" name="TextBox 28">
            <a:extLst>
              <a:ext uri="{FF2B5EF4-FFF2-40B4-BE49-F238E27FC236}">
                <a16:creationId xmlns:a16="http://schemas.microsoft.com/office/drawing/2014/main" id="{B3AF1B13-08F9-427F-A82A-D9422D925B32}"/>
              </a:ext>
            </a:extLst>
          </p:cNvPr>
          <p:cNvSpPr txBox="1"/>
          <p:nvPr/>
        </p:nvSpPr>
        <p:spPr>
          <a:xfrm>
            <a:off x="73500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pic>
        <p:nvPicPr>
          <p:cNvPr id="35" name="Picture 6" descr="Image result for hanging lamp image">
            <a:extLst>
              <a:ext uri="{FF2B5EF4-FFF2-40B4-BE49-F238E27FC236}">
                <a16:creationId xmlns:a16="http://schemas.microsoft.com/office/drawing/2014/main" id="{88D35A3A-00D0-4025-AC90-6632139E333C}"/>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42240"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DEE6708E-ECF6-4FA4-829D-44F14D8C5879}"/>
              </a:ext>
            </a:extLst>
          </p:cNvPr>
          <p:cNvSpPr/>
          <p:nvPr/>
        </p:nvSpPr>
        <p:spPr>
          <a:xfrm>
            <a:off x="4043856"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7" name="Group 36">
            <a:extLst>
              <a:ext uri="{FF2B5EF4-FFF2-40B4-BE49-F238E27FC236}">
                <a16:creationId xmlns:a16="http://schemas.microsoft.com/office/drawing/2014/main" id="{4D54A82A-31A0-47DE-A1D1-8AAE3A07F8FD}"/>
              </a:ext>
            </a:extLst>
          </p:cNvPr>
          <p:cNvGrpSpPr/>
          <p:nvPr/>
        </p:nvGrpSpPr>
        <p:grpSpPr>
          <a:xfrm>
            <a:off x="4045664" y="3187879"/>
            <a:ext cx="1052673" cy="1403564"/>
            <a:chOff x="926067" y="3393874"/>
            <a:chExt cx="1691166" cy="1691166"/>
          </a:xfrm>
        </p:grpSpPr>
        <p:sp>
          <p:nvSpPr>
            <p:cNvPr id="49" name="Rectangle 48">
              <a:extLst>
                <a:ext uri="{FF2B5EF4-FFF2-40B4-BE49-F238E27FC236}">
                  <a16:creationId xmlns:a16="http://schemas.microsoft.com/office/drawing/2014/main" id="{8B6D7D68-70B5-47EC-B6B7-7EDFD8AB74F7}"/>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0" name="Oval 96">
              <a:extLst>
                <a:ext uri="{FF2B5EF4-FFF2-40B4-BE49-F238E27FC236}">
                  <a16:creationId xmlns:a16="http://schemas.microsoft.com/office/drawing/2014/main" id="{D37046B0-556A-4170-B99D-B1C71B294655}"/>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 name="Freeform 97">
              <a:extLst>
                <a:ext uri="{FF2B5EF4-FFF2-40B4-BE49-F238E27FC236}">
                  <a16:creationId xmlns:a16="http://schemas.microsoft.com/office/drawing/2014/main" id="{B7738065-83C2-4726-9955-21B946A11EDF}"/>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40" name="TextBox 39">
            <a:extLst>
              <a:ext uri="{FF2B5EF4-FFF2-40B4-BE49-F238E27FC236}">
                <a16:creationId xmlns:a16="http://schemas.microsoft.com/office/drawing/2014/main" id="{E7D1DA4F-4B26-46C0-A803-24FAE5835BE5}"/>
              </a:ext>
            </a:extLst>
          </p:cNvPr>
          <p:cNvSpPr txBox="1"/>
          <p:nvPr/>
        </p:nvSpPr>
        <p:spPr>
          <a:xfrm>
            <a:off x="3818252" y="4802691"/>
            <a:ext cx="1507497" cy="338554"/>
          </a:xfrm>
          <a:prstGeom prst="rect">
            <a:avLst/>
          </a:prstGeom>
          <a:noFill/>
        </p:spPr>
        <p:txBody>
          <a:bodyPr wrap="square" rtlCol="0">
            <a:spAutoFit/>
          </a:bodyPr>
          <a:lstStyle/>
          <a:p>
            <a:pPr algn="ctr"/>
            <a:r>
              <a:rPr lang="en-US" sz="1600" b="1" dirty="0">
                <a:solidFill>
                  <a:srgbClr val="0070C0"/>
                </a:solidFill>
              </a:rPr>
              <a:t>Text 2</a:t>
            </a:r>
          </a:p>
        </p:txBody>
      </p:sp>
      <p:sp>
        <p:nvSpPr>
          <p:cNvPr id="41" name="TextBox 40">
            <a:extLst>
              <a:ext uri="{FF2B5EF4-FFF2-40B4-BE49-F238E27FC236}">
                <a16:creationId xmlns:a16="http://schemas.microsoft.com/office/drawing/2014/main" id="{E5CC8595-B228-43D2-8812-AC0042D59822}"/>
              </a:ext>
            </a:extLst>
          </p:cNvPr>
          <p:cNvSpPr txBox="1"/>
          <p:nvPr/>
        </p:nvSpPr>
        <p:spPr>
          <a:xfrm>
            <a:off x="387413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pic>
        <p:nvPicPr>
          <p:cNvPr id="53" name="Picture 6" descr="Image result for hanging lamp image">
            <a:extLst>
              <a:ext uri="{FF2B5EF4-FFF2-40B4-BE49-F238E27FC236}">
                <a16:creationId xmlns:a16="http://schemas.microsoft.com/office/drawing/2014/main" id="{70322ADE-45F8-4A2B-9FE0-52F4156CDE8C}"/>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1368"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a:extLst>
              <a:ext uri="{FF2B5EF4-FFF2-40B4-BE49-F238E27FC236}">
                <a16:creationId xmlns:a16="http://schemas.microsoft.com/office/drawing/2014/main" id="{98E9DF7D-35FB-406F-8721-3D4E08904208}"/>
              </a:ext>
            </a:extLst>
          </p:cNvPr>
          <p:cNvSpPr/>
          <p:nvPr/>
        </p:nvSpPr>
        <p:spPr>
          <a:xfrm>
            <a:off x="7182985"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5" name="Group 54">
            <a:extLst>
              <a:ext uri="{FF2B5EF4-FFF2-40B4-BE49-F238E27FC236}">
                <a16:creationId xmlns:a16="http://schemas.microsoft.com/office/drawing/2014/main" id="{D8342059-F88E-4780-B98D-2D7C026EC933}"/>
              </a:ext>
            </a:extLst>
          </p:cNvPr>
          <p:cNvGrpSpPr/>
          <p:nvPr/>
        </p:nvGrpSpPr>
        <p:grpSpPr>
          <a:xfrm>
            <a:off x="7184795" y="3187879"/>
            <a:ext cx="1052673" cy="1403564"/>
            <a:chOff x="926067" y="3393874"/>
            <a:chExt cx="1691166" cy="1691166"/>
          </a:xfrm>
        </p:grpSpPr>
        <p:sp>
          <p:nvSpPr>
            <p:cNvPr id="60" name="Rectangle 59">
              <a:extLst>
                <a:ext uri="{FF2B5EF4-FFF2-40B4-BE49-F238E27FC236}">
                  <a16:creationId xmlns:a16="http://schemas.microsoft.com/office/drawing/2014/main" id="{C9B01EC5-BA75-4B17-B62C-87CE2E9F73BE}"/>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1" name="Oval 96">
              <a:extLst>
                <a:ext uri="{FF2B5EF4-FFF2-40B4-BE49-F238E27FC236}">
                  <a16:creationId xmlns:a16="http://schemas.microsoft.com/office/drawing/2014/main" id="{DB700D0F-B907-45DE-86C5-BF01A711B5C6}"/>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2" name="Freeform 97">
              <a:extLst>
                <a:ext uri="{FF2B5EF4-FFF2-40B4-BE49-F238E27FC236}">
                  <a16:creationId xmlns:a16="http://schemas.microsoft.com/office/drawing/2014/main" id="{8E269624-1FF0-4595-9528-443E1B2513A7}"/>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57" name="TextBox 56">
            <a:extLst>
              <a:ext uri="{FF2B5EF4-FFF2-40B4-BE49-F238E27FC236}">
                <a16:creationId xmlns:a16="http://schemas.microsoft.com/office/drawing/2014/main" id="{CB4307A0-2F13-4119-B3C1-8A50F84FDEAB}"/>
              </a:ext>
            </a:extLst>
          </p:cNvPr>
          <p:cNvSpPr txBox="1"/>
          <p:nvPr/>
        </p:nvSpPr>
        <p:spPr>
          <a:xfrm>
            <a:off x="6957383" y="4802691"/>
            <a:ext cx="1507497" cy="338554"/>
          </a:xfrm>
          <a:prstGeom prst="rect">
            <a:avLst/>
          </a:prstGeom>
          <a:noFill/>
        </p:spPr>
        <p:txBody>
          <a:bodyPr wrap="square" rtlCol="0">
            <a:spAutoFit/>
          </a:bodyPr>
          <a:lstStyle/>
          <a:p>
            <a:pPr algn="ctr"/>
            <a:r>
              <a:rPr lang="en-US" sz="1600" b="1" dirty="0">
                <a:solidFill>
                  <a:srgbClr val="0070C0"/>
                </a:solidFill>
              </a:rPr>
              <a:t>Text 3</a:t>
            </a:r>
          </a:p>
        </p:txBody>
      </p:sp>
      <p:sp>
        <p:nvSpPr>
          <p:cNvPr id="58" name="TextBox 57">
            <a:extLst>
              <a:ext uri="{FF2B5EF4-FFF2-40B4-BE49-F238E27FC236}">
                <a16:creationId xmlns:a16="http://schemas.microsoft.com/office/drawing/2014/main" id="{71C339D5-2503-4521-9C64-551E67F58A39}"/>
              </a:ext>
            </a:extLst>
          </p:cNvPr>
          <p:cNvSpPr txBox="1"/>
          <p:nvPr/>
        </p:nvSpPr>
        <p:spPr>
          <a:xfrm>
            <a:off x="701326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spTree>
    <p:extLst>
      <p:ext uri="{BB962C8B-B14F-4D97-AF65-F5344CB8AC3E}">
        <p14:creationId xmlns:p14="http://schemas.microsoft.com/office/powerpoint/2010/main" val="3438774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850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3" name="Isosceles Triangle 2">
            <a:extLst>
              <a:ext uri="{FF2B5EF4-FFF2-40B4-BE49-F238E27FC236}">
                <a16:creationId xmlns:a16="http://schemas.microsoft.com/office/drawing/2014/main" id="{EFBE8B1C-FCB9-4386-8694-8B419BDDCD1D}"/>
              </a:ext>
            </a:extLst>
          </p:cNvPr>
          <p:cNvSpPr/>
          <p:nvPr userDrawn="1"/>
        </p:nvSpPr>
        <p:spPr>
          <a:xfrm flipH="1">
            <a:off x="2" y="0"/>
            <a:ext cx="28860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156614" y="356168"/>
            <a:ext cx="2453239"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bg1"/>
                </a:solidFill>
              </a:defRPr>
            </a:lvl1pPr>
          </a:lstStyle>
          <a:p>
            <a:pPr marL="0" lvl="0">
              <a:spcBef>
                <a:spcPts val="0"/>
              </a:spcBef>
            </a:pPr>
            <a:r>
              <a:rPr lang="en-US" dirty="0"/>
              <a:t>Agenda</a:t>
            </a:r>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hasCustomPrompt="1"/>
          </p:nvPr>
        </p:nvSpPr>
        <p:spPr>
          <a:xfrm>
            <a:off x="3343275" y="2151876"/>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1</a:t>
            </a:r>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6" name="Graphic 25">
            <a:extLst>
              <a:ext uri="{FF2B5EF4-FFF2-40B4-BE49-F238E27FC236}">
                <a16:creationId xmlns:a16="http://schemas.microsoft.com/office/drawing/2014/main" id="{72B5F7C8-148F-4B52-AEC6-3396643E119F}"/>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27" name="Text Placeholder 38">
            <a:extLst>
              <a:ext uri="{FF2B5EF4-FFF2-40B4-BE49-F238E27FC236}">
                <a16:creationId xmlns:a16="http://schemas.microsoft.com/office/drawing/2014/main" id="{DB2FF9F0-0DC4-489A-81EA-137D60EC0578}"/>
              </a:ext>
            </a:extLst>
          </p:cNvPr>
          <p:cNvSpPr>
            <a:spLocks noGrp="1"/>
          </p:cNvSpPr>
          <p:nvPr>
            <p:ph type="body" sz="quarter" idx="15" hasCustomPrompt="1"/>
          </p:nvPr>
        </p:nvSpPr>
        <p:spPr>
          <a:xfrm>
            <a:off x="3343275" y="3437751"/>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2</a:t>
            </a:r>
          </a:p>
        </p:txBody>
      </p:sp>
      <p:sp>
        <p:nvSpPr>
          <p:cNvPr id="28" name="Text Placeholder 38">
            <a:extLst>
              <a:ext uri="{FF2B5EF4-FFF2-40B4-BE49-F238E27FC236}">
                <a16:creationId xmlns:a16="http://schemas.microsoft.com/office/drawing/2014/main" id="{B0A9C069-561D-4DA2-A580-7D8250689241}"/>
              </a:ext>
            </a:extLst>
          </p:cNvPr>
          <p:cNvSpPr>
            <a:spLocks noGrp="1"/>
          </p:cNvSpPr>
          <p:nvPr>
            <p:ph type="body" sz="quarter" idx="16" hasCustomPrompt="1"/>
          </p:nvPr>
        </p:nvSpPr>
        <p:spPr>
          <a:xfrm>
            <a:off x="3343275" y="4686300"/>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3</a:t>
            </a:r>
          </a:p>
        </p:txBody>
      </p:sp>
      <p:sp>
        <p:nvSpPr>
          <p:cNvPr id="15" name="Isosceles Triangle 14">
            <a:extLst>
              <a:ext uri="{FF2B5EF4-FFF2-40B4-BE49-F238E27FC236}">
                <a16:creationId xmlns:a16="http://schemas.microsoft.com/office/drawing/2014/main" id="{ABA3A242-0290-4F24-86CE-64BD7CB7EDFB}"/>
              </a:ext>
            </a:extLst>
          </p:cNvPr>
          <p:cNvSpPr/>
          <p:nvPr userDrawn="1"/>
        </p:nvSpPr>
        <p:spPr>
          <a:xfrm rot="5400000">
            <a:off x="2440781" y="2336008"/>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Isosceles Triangle 29">
            <a:extLst>
              <a:ext uri="{FF2B5EF4-FFF2-40B4-BE49-F238E27FC236}">
                <a16:creationId xmlns:a16="http://schemas.microsoft.com/office/drawing/2014/main" id="{9F6F2F15-942B-4A86-9D33-A2A07D56F339}"/>
              </a:ext>
            </a:extLst>
          </p:cNvPr>
          <p:cNvSpPr/>
          <p:nvPr userDrawn="1"/>
        </p:nvSpPr>
        <p:spPr>
          <a:xfrm rot="5400000">
            <a:off x="2440781" y="3621881"/>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Isosceles Triangle 30">
            <a:extLst>
              <a:ext uri="{FF2B5EF4-FFF2-40B4-BE49-F238E27FC236}">
                <a16:creationId xmlns:a16="http://schemas.microsoft.com/office/drawing/2014/main" id="{770049CD-C912-44E3-88A2-BD2FAE5A52AD}"/>
              </a:ext>
            </a:extLst>
          </p:cNvPr>
          <p:cNvSpPr/>
          <p:nvPr userDrawn="1"/>
        </p:nvSpPr>
        <p:spPr>
          <a:xfrm rot="5400000">
            <a:off x="2440781" y="4907758"/>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3804212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952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976995" y="356168"/>
            <a:ext cx="690970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dirty="0"/>
              <a:t>Title Tracker Style</a:t>
            </a:r>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6F3C07F2-C146-4E61-8A29-AD1610419E9A}" type="datetime1">
              <a:rPr lang="en-US" smtClean="0"/>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857250" y="1524004"/>
            <a:ext cx="4114800" cy="13295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Rectangle 22">
            <a:extLst>
              <a:ext uri="{FF2B5EF4-FFF2-40B4-BE49-F238E27FC236}">
                <a16:creationId xmlns:a16="http://schemas.microsoft.com/office/drawing/2014/main" id="{636974A1-C155-4415-8220-D8371A600682}"/>
              </a:ext>
            </a:extLst>
          </p:cNvPr>
          <p:cNvSpPr/>
          <p:nvPr userDrawn="1"/>
        </p:nvSpPr>
        <p:spPr>
          <a:xfrm>
            <a:off x="3" y="0"/>
            <a:ext cx="8604647"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Freeform: Shape 23">
            <a:extLst>
              <a:ext uri="{FF2B5EF4-FFF2-40B4-BE49-F238E27FC236}">
                <a16:creationId xmlns:a16="http://schemas.microsoft.com/office/drawing/2014/main" id="{759ED170-213A-4BFD-818E-C2021348CCCF}"/>
              </a:ext>
            </a:extLst>
          </p:cNvPr>
          <p:cNvSpPr>
            <a:spLocks/>
          </p:cNvSpPr>
          <p:nvPr userDrawn="1"/>
        </p:nvSpPr>
        <p:spPr>
          <a:xfrm>
            <a:off x="0" y="0"/>
            <a:ext cx="1028700" cy="84978"/>
          </a:xfrm>
          <a:custGeom>
            <a:avLst/>
            <a:gdLst>
              <a:gd name="connsiteX0" fmla="*/ 0 w 1371600"/>
              <a:gd name="connsiteY0" fmla="*/ 0 h 84978"/>
              <a:gd name="connsiteX1" fmla="*/ 1321780 w 1371600"/>
              <a:gd name="connsiteY1" fmla="*/ 0 h 84978"/>
              <a:gd name="connsiteX2" fmla="*/ 1371600 w 1371600"/>
              <a:gd name="connsiteY2" fmla="*/ 84978 h 84978"/>
              <a:gd name="connsiteX3" fmla="*/ 0 w 1371600"/>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71600" h="84978">
                <a:moveTo>
                  <a:pt x="0" y="0"/>
                </a:moveTo>
                <a:lnTo>
                  <a:pt x="1321780" y="0"/>
                </a:lnTo>
                <a:lnTo>
                  <a:pt x="1371600" y="84978"/>
                </a:lnTo>
                <a:lnTo>
                  <a:pt x="0" y="84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7" name="Group 26">
            <a:extLst>
              <a:ext uri="{FF2B5EF4-FFF2-40B4-BE49-F238E27FC236}">
                <a16:creationId xmlns:a16="http://schemas.microsoft.com/office/drawing/2014/main" id="{E5963ED6-E30F-473C-BACE-AB9FD1262A2F}"/>
              </a:ext>
            </a:extLst>
          </p:cNvPr>
          <p:cNvGrpSpPr/>
          <p:nvPr userDrawn="1"/>
        </p:nvGrpSpPr>
        <p:grpSpPr>
          <a:xfrm>
            <a:off x="8873031" y="6350000"/>
            <a:ext cx="270971" cy="517526"/>
            <a:chOff x="11257642" y="2162629"/>
            <a:chExt cx="934358" cy="4704897"/>
          </a:xfrm>
        </p:grpSpPr>
        <p:sp>
          <p:nvSpPr>
            <p:cNvPr id="28" name="Isosceles Triangle 27">
              <a:extLst>
                <a:ext uri="{FF2B5EF4-FFF2-40B4-BE49-F238E27FC236}">
                  <a16:creationId xmlns:a16="http://schemas.microsoft.com/office/drawing/2014/main" id="{8753E6E0-E047-480A-87AB-BE584D710906}"/>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Isosceles Triangle 7">
              <a:extLst>
                <a:ext uri="{FF2B5EF4-FFF2-40B4-BE49-F238E27FC236}">
                  <a16:creationId xmlns:a16="http://schemas.microsoft.com/office/drawing/2014/main" id="{05B3C960-B899-4ACC-836A-D20509752A73}"/>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30" name="Straight Connector 29">
            <a:extLst>
              <a:ext uri="{FF2B5EF4-FFF2-40B4-BE49-F238E27FC236}">
                <a16:creationId xmlns:a16="http://schemas.microsoft.com/office/drawing/2014/main" id="{17429CBF-6FC7-47FC-B555-FF2712EDD9D7}"/>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1" name="Graphic 30">
            <a:extLst>
              <a:ext uri="{FF2B5EF4-FFF2-40B4-BE49-F238E27FC236}">
                <a16:creationId xmlns:a16="http://schemas.microsoft.com/office/drawing/2014/main" id="{B003EB85-2930-46CF-9A0F-11F6B05E6CE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b="24190"/>
          <a:stretch/>
        </p:blipFill>
        <p:spPr>
          <a:xfrm>
            <a:off x="0" y="6257926"/>
            <a:ext cx="499590" cy="558546"/>
          </a:xfrm>
          <a:prstGeom prst="rect">
            <a:avLst/>
          </a:prstGeom>
        </p:spPr>
      </p:pic>
      <p:cxnSp>
        <p:nvCxnSpPr>
          <p:cNvPr id="32" name="Straight Connector 31">
            <a:extLst>
              <a:ext uri="{FF2B5EF4-FFF2-40B4-BE49-F238E27FC236}">
                <a16:creationId xmlns:a16="http://schemas.microsoft.com/office/drawing/2014/main" id="{13E7E4DE-4CE1-461B-8E15-778BC259C4ED}"/>
              </a:ext>
            </a:extLst>
          </p:cNvPr>
          <p:cNvCxnSpPr>
            <a:cxnSpLocks/>
          </p:cNvCxnSpPr>
          <p:nvPr userDrawn="1"/>
        </p:nvCxnSpPr>
        <p:spPr>
          <a:xfrm>
            <a:off x="0" y="1042857"/>
            <a:ext cx="9144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Freeform: Shape 32">
            <a:extLst>
              <a:ext uri="{FF2B5EF4-FFF2-40B4-BE49-F238E27FC236}">
                <a16:creationId xmlns:a16="http://schemas.microsoft.com/office/drawing/2014/main" id="{94EFD942-8B96-475E-9A4D-A02434966015}"/>
              </a:ext>
            </a:extLst>
          </p:cNvPr>
          <p:cNvSpPr/>
          <p:nvPr userDrawn="1"/>
        </p:nvSpPr>
        <p:spPr>
          <a:xfrm rot="10800000">
            <a:off x="85728" y="-3"/>
            <a:ext cx="873323" cy="990602"/>
          </a:xfrm>
          <a:custGeom>
            <a:avLst/>
            <a:gdLst>
              <a:gd name="connsiteX0" fmla="*/ 1371601 w 2743200"/>
              <a:gd name="connsiteY0" fmla="*/ 0 h 2089775"/>
              <a:gd name="connsiteX1" fmla="*/ 1543349 w 2743200"/>
              <a:gd name="connsiteY1" fmla="*/ 53449 h 2089775"/>
              <a:gd name="connsiteX2" fmla="*/ 1594043 w 2743200"/>
              <a:gd name="connsiteY2" fmla="*/ 109939 h 2089775"/>
              <a:gd name="connsiteX3" fmla="*/ 1594896 w 2743200"/>
              <a:gd name="connsiteY3" fmla="*/ 109939 h 2089775"/>
              <a:gd name="connsiteX4" fmla="*/ 2743200 w 2743200"/>
              <a:gd name="connsiteY4" fmla="*/ 2089775 h 2089775"/>
              <a:gd name="connsiteX5" fmla="*/ 0 w 2743200"/>
              <a:gd name="connsiteY5" fmla="*/ 2089775 h 2089775"/>
              <a:gd name="connsiteX6" fmla="*/ 1148305 w 2743200"/>
              <a:gd name="connsiteY6" fmla="*/ 109939 h 2089775"/>
              <a:gd name="connsiteX7" fmla="*/ 1149160 w 2743200"/>
              <a:gd name="connsiteY7" fmla="*/ 109939 h 2089775"/>
              <a:gd name="connsiteX8" fmla="*/ 1199854 w 2743200"/>
              <a:gd name="connsiteY8" fmla="*/ 53449 h 2089775"/>
              <a:gd name="connsiteX9" fmla="*/ 1371601 w 2743200"/>
              <a:gd name="connsiteY9" fmla="*/ 0 h 208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200" h="2089775">
                <a:moveTo>
                  <a:pt x="1371601" y="0"/>
                </a:moveTo>
                <a:cubicBezTo>
                  <a:pt x="1438673" y="0"/>
                  <a:pt x="1499395" y="20425"/>
                  <a:pt x="1543349" y="53449"/>
                </a:cubicBezTo>
                <a:lnTo>
                  <a:pt x="1594043" y="109939"/>
                </a:lnTo>
                <a:lnTo>
                  <a:pt x="1594896" y="109939"/>
                </a:lnTo>
                <a:lnTo>
                  <a:pt x="2743200" y="2089775"/>
                </a:lnTo>
                <a:lnTo>
                  <a:pt x="0" y="2089775"/>
                </a:lnTo>
                <a:lnTo>
                  <a:pt x="1148305" y="109939"/>
                </a:lnTo>
                <a:lnTo>
                  <a:pt x="1149160" y="109939"/>
                </a:lnTo>
                <a:lnTo>
                  <a:pt x="1199854" y="53449"/>
                </a:lnTo>
                <a:cubicBezTo>
                  <a:pt x="1243808" y="20425"/>
                  <a:pt x="1304530" y="0"/>
                  <a:pt x="1371601" y="0"/>
                </a:cubicBezTo>
                <a:close/>
              </a:path>
            </a:pathLst>
          </a:custGeom>
          <a:gradFill flip="none" rotWithShape="1">
            <a:gsLst>
              <a:gs pos="0">
                <a:schemeClr val="accent2">
                  <a:lumMod val="67000"/>
                </a:schemeClr>
              </a:gs>
              <a:gs pos="9000">
                <a:schemeClr val="accent2">
                  <a:lumMod val="97000"/>
                  <a:lumOff val="3000"/>
                </a:schemeClr>
              </a:gs>
              <a:gs pos="100000">
                <a:schemeClr val="accent2">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Isosceles Triangle 33">
            <a:extLst>
              <a:ext uri="{FF2B5EF4-FFF2-40B4-BE49-F238E27FC236}">
                <a16:creationId xmlns:a16="http://schemas.microsoft.com/office/drawing/2014/main" id="{93DA3E48-B9EB-413F-922C-C321D6A3447F}"/>
              </a:ext>
            </a:extLst>
          </p:cNvPr>
          <p:cNvSpPr>
            <a:spLocks/>
          </p:cNvSpPr>
          <p:nvPr userDrawn="1"/>
        </p:nvSpPr>
        <p:spPr>
          <a:xfrm>
            <a:off x="923331" y="0"/>
            <a:ext cx="69652" cy="84978"/>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Isosceles Triangle 34">
            <a:extLst>
              <a:ext uri="{FF2B5EF4-FFF2-40B4-BE49-F238E27FC236}">
                <a16:creationId xmlns:a16="http://schemas.microsoft.com/office/drawing/2014/main" id="{C4897857-8AC6-4D28-9DA2-422E66F53631}"/>
              </a:ext>
            </a:extLst>
          </p:cNvPr>
          <p:cNvSpPr>
            <a:spLocks/>
          </p:cNvSpPr>
          <p:nvPr userDrawn="1"/>
        </p:nvSpPr>
        <p:spPr>
          <a:xfrm>
            <a:off x="54177" y="0"/>
            <a:ext cx="69652" cy="84978"/>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36" name="Straight Connector 35">
            <a:extLst>
              <a:ext uri="{FF2B5EF4-FFF2-40B4-BE49-F238E27FC236}">
                <a16:creationId xmlns:a16="http://schemas.microsoft.com/office/drawing/2014/main" id="{3087D1A8-A2A1-4EC0-9B52-98B3FC251084}"/>
              </a:ext>
            </a:extLst>
          </p:cNvPr>
          <p:cNvCxnSpPr>
            <a:cxnSpLocks/>
          </p:cNvCxnSpPr>
          <p:nvPr userDrawn="1"/>
        </p:nvCxnSpPr>
        <p:spPr>
          <a:xfrm>
            <a:off x="0" y="84978"/>
            <a:ext cx="127635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Parallelogram 36">
            <a:extLst>
              <a:ext uri="{FF2B5EF4-FFF2-40B4-BE49-F238E27FC236}">
                <a16:creationId xmlns:a16="http://schemas.microsoft.com/office/drawing/2014/main" id="{351EB690-D335-40C8-ADC9-669224B31DA0}"/>
              </a:ext>
            </a:extLst>
          </p:cNvPr>
          <p:cNvSpPr>
            <a:spLocks/>
          </p:cNvSpPr>
          <p:nvPr userDrawn="1"/>
        </p:nvSpPr>
        <p:spPr>
          <a:xfrm>
            <a:off x="8576938" y="0"/>
            <a:ext cx="137993"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Parallelogram 37">
            <a:extLst>
              <a:ext uri="{FF2B5EF4-FFF2-40B4-BE49-F238E27FC236}">
                <a16:creationId xmlns:a16="http://schemas.microsoft.com/office/drawing/2014/main" id="{84282F30-8951-44F9-BD83-3D42694F5DD8}"/>
              </a:ext>
            </a:extLst>
          </p:cNvPr>
          <p:cNvSpPr>
            <a:spLocks/>
          </p:cNvSpPr>
          <p:nvPr userDrawn="1"/>
        </p:nvSpPr>
        <p:spPr>
          <a:xfrm>
            <a:off x="8887989" y="0"/>
            <a:ext cx="137993"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Parallelogram 39">
            <a:extLst>
              <a:ext uri="{FF2B5EF4-FFF2-40B4-BE49-F238E27FC236}">
                <a16:creationId xmlns:a16="http://schemas.microsoft.com/office/drawing/2014/main" id="{097E7787-0EB7-46BD-B4E2-D216C7B161AF}"/>
              </a:ext>
            </a:extLst>
          </p:cNvPr>
          <p:cNvSpPr/>
          <p:nvPr userDrawn="1"/>
        </p:nvSpPr>
        <p:spPr>
          <a:xfrm>
            <a:off x="8732463" y="0"/>
            <a:ext cx="137993"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1" name="Freeform: Shape 40">
            <a:extLst>
              <a:ext uri="{FF2B5EF4-FFF2-40B4-BE49-F238E27FC236}">
                <a16:creationId xmlns:a16="http://schemas.microsoft.com/office/drawing/2014/main" id="{06F87FCE-004B-4571-B146-7A26C374528D}"/>
              </a:ext>
            </a:extLst>
          </p:cNvPr>
          <p:cNvSpPr>
            <a:spLocks/>
          </p:cNvSpPr>
          <p:nvPr userDrawn="1"/>
        </p:nvSpPr>
        <p:spPr>
          <a:xfrm>
            <a:off x="9043512" y="0"/>
            <a:ext cx="100488"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Text Placeholder 8">
            <a:extLst>
              <a:ext uri="{FF2B5EF4-FFF2-40B4-BE49-F238E27FC236}">
                <a16:creationId xmlns:a16="http://schemas.microsoft.com/office/drawing/2014/main" id="{DD82E81F-B258-4B6F-A74B-7D712CF68B8D}"/>
              </a:ext>
            </a:extLst>
          </p:cNvPr>
          <p:cNvSpPr>
            <a:spLocks noGrp="1"/>
          </p:cNvSpPr>
          <p:nvPr>
            <p:ph type="body" sz="quarter" idx="15" hasCustomPrompt="1"/>
          </p:nvPr>
        </p:nvSpPr>
        <p:spPr>
          <a:xfrm>
            <a:off x="279245" y="221258"/>
            <a:ext cx="456408"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ctr">
              <a:defRPr lang="en-US" sz="3000" smtClean="0">
                <a:solidFill>
                  <a:schemeClr val="bg1"/>
                </a:solidFill>
                <a:ea typeface="+mj-ea"/>
                <a:cs typeface="+mj-cs"/>
              </a:defRPr>
            </a:lvl1pPr>
            <a:lvl2pPr>
              <a:defRPr lang="en-US" sz="1800" smtClean="0"/>
            </a:lvl2pPr>
            <a:lvl3pPr>
              <a:defRPr lang="en-US" sz="1800" smtClean="0"/>
            </a:lvl3pPr>
            <a:lvl4pPr>
              <a:defRPr lang="en-US" smtClean="0"/>
            </a:lvl4pPr>
            <a:lvl5pPr>
              <a:defRPr lang="en-US"/>
            </a:lvl5pPr>
          </a:lstStyle>
          <a:p>
            <a:pPr lvl="0" algn="ctr">
              <a:spcBef>
                <a:spcPts val="0"/>
              </a:spcBef>
            </a:pPr>
            <a:r>
              <a:rPr lang="en-US" dirty="0"/>
              <a:t>01</a:t>
            </a:r>
          </a:p>
        </p:txBody>
      </p:sp>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221287" y="6538061"/>
            <a:ext cx="124597" cy="138742"/>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l">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pic>
        <p:nvPicPr>
          <p:cNvPr id="43" name="Picture 42" descr="A picture containing object&#10;&#10;Description automatically generated">
            <a:extLst>
              <a:ext uri="{FF2B5EF4-FFF2-40B4-BE49-F238E27FC236}">
                <a16:creationId xmlns:a16="http://schemas.microsoft.com/office/drawing/2014/main" id="{A207BE0D-A85E-FF43-89E7-E27874984046}"/>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584717" y="415023"/>
            <a:ext cx="1269507" cy="371271"/>
          </a:xfrm>
          <a:prstGeom prst="rect">
            <a:avLst/>
          </a:prstGeom>
        </p:spPr>
      </p:pic>
    </p:spTree>
    <p:extLst>
      <p:ext uri="{BB962C8B-B14F-4D97-AF65-F5344CB8AC3E}">
        <p14:creationId xmlns:p14="http://schemas.microsoft.com/office/powerpoint/2010/main" val="229837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055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9" name="Freeform: Shape 8">
            <a:extLst>
              <a:ext uri="{FF2B5EF4-FFF2-40B4-BE49-F238E27FC236}">
                <a16:creationId xmlns:a16="http://schemas.microsoft.com/office/drawing/2014/main" id="{9B7F72BB-DD02-46F7-AC9A-62DC360DD6BE}"/>
              </a:ext>
            </a:extLst>
          </p:cNvPr>
          <p:cNvSpPr/>
          <p:nvPr userDrawn="1"/>
        </p:nvSpPr>
        <p:spPr>
          <a:xfrm>
            <a:off x="0" y="0"/>
            <a:ext cx="5867400" cy="6858000"/>
          </a:xfrm>
          <a:custGeom>
            <a:avLst/>
            <a:gdLst>
              <a:gd name="connsiteX0" fmla="*/ 3041654 w 7823200"/>
              <a:gd name="connsiteY0" fmla="*/ 3117854 h 6858000"/>
              <a:gd name="connsiteX1" fmla="*/ 3041654 w 7823200"/>
              <a:gd name="connsiteY1" fmla="*/ 4121146 h 6858000"/>
              <a:gd name="connsiteX2" fmla="*/ 4095746 w 7823200"/>
              <a:gd name="connsiteY2" fmla="*/ 4121146 h 6858000"/>
              <a:gd name="connsiteX3" fmla="*/ 4095746 w 7823200"/>
              <a:gd name="connsiteY3" fmla="*/ 3117854 h 6858000"/>
              <a:gd name="connsiteX4" fmla="*/ 4095746 w 7823200"/>
              <a:gd name="connsiteY4" fmla="*/ 0 h 6858000"/>
              <a:gd name="connsiteX5" fmla="*/ 4445000 w 7823200"/>
              <a:gd name="connsiteY5" fmla="*/ 0 h 6858000"/>
              <a:gd name="connsiteX6" fmla="*/ 4445000 w 7823200"/>
              <a:gd name="connsiteY6" fmla="*/ 2768600 h 6858000"/>
              <a:gd name="connsiteX7" fmla="*/ 7823200 w 7823200"/>
              <a:gd name="connsiteY7" fmla="*/ 2768600 h 6858000"/>
              <a:gd name="connsiteX8" fmla="*/ 7823200 w 7823200"/>
              <a:gd name="connsiteY8" fmla="*/ 6858000 h 6858000"/>
              <a:gd name="connsiteX9" fmla="*/ 7473946 w 7823200"/>
              <a:gd name="connsiteY9" fmla="*/ 6858000 h 6858000"/>
              <a:gd name="connsiteX10" fmla="*/ 7473946 w 7823200"/>
              <a:gd name="connsiteY10" fmla="*/ 3117854 h 6858000"/>
              <a:gd name="connsiteX11" fmla="*/ 4445000 w 7823200"/>
              <a:gd name="connsiteY11" fmla="*/ 3117854 h 6858000"/>
              <a:gd name="connsiteX12" fmla="*/ 4445000 w 7823200"/>
              <a:gd name="connsiteY12" fmla="*/ 4470400 h 6858000"/>
              <a:gd name="connsiteX13" fmla="*/ 3041654 w 7823200"/>
              <a:gd name="connsiteY13" fmla="*/ 4470400 h 6858000"/>
              <a:gd name="connsiteX14" fmla="*/ 3041654 w 7823200"/>
              <a:gd name="connsiteY14" fmla="*/ 6858000 h 6858000"/>
              <a:gd name="connsiteX15" fmla="*/ 2692400 w 7823200"/>
              <a:gd name="connsiteY15" fmla="*/ 6858000 h 6858000"/>
              <a:gd name="connsiteX16" fmla="*/ 2692400 w 7823200"/>
              <a:gd name="connsiteY16" fmla="*/ 4470400 h 6858000"/>
              <a:gd name="connsiteX17" fmla="*/ 0 w 7823200"/>
              <a:gd name="connsiteY17" fmla="*/ 4470400 h 6858000"/>
              <a:gd name="connsiteX18" fmla="*/ 0 w 7823200"/>
              <a:gd name="connsiteY18" fmla="*/ 4121146 h 6858000"/>
              <a:gd name="connsiteX19" fmla="*/ 2692400 w 7823200"/>
              <a:gd name="connsiteY19" fmla="*/ 4121146 h 6858000"/>
              <a:gd name="connsiteX20" fmla="*/ 2692400 w 7823200"/>
              <a:gd name="connsiteY20" fmla="*/ 2768600 h 6858000"/>
              <a:gd name="connsiteX21" fmla="*/ 4095746 w 7823200"/>
              <a:gd name="connsiteY21" fmla="*/ 2768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23200" h="6858000">
                <a:moveTo>
                  <a:pt x="3041654" y="3117854"/>
                </a:moveTo>
                <a:lnTo>
                  <a:pt x="3041654" y="4121146"/>
                </a:lnTo>
                <a:lnTo>
                  <a:pt x="4095746" y="4121146"/>
                </a:lnTo>
                <a:lnTo>
                  <a:pt x="4095746" y="3117854"/>
                </a:lnTo>
                <a:close/>
                <a:moveTo>
                  <a:pt x="4095746" y="0"/>
                </a:moveTo>
                <a:lnTo>
                  <a:pt x="4445000" y="0"/>
                </a:lnTo>
                <a:lnTo>
                  <a:pt x="4445000" y="2768600"/>
                </a:lnTo>
                <a:lnTo>
                  <a:pt x="7823200" y="2768600"/>
                </a:lnTo>
                <a:lnTo>
                  <a:pt x="7823200" y="6858000"/>
                </a:lnTo>
                <a:lnTo>
                  <a:pt x="7473946" y="6858000"/>
                </a:lnTo>
                <a:lnTo>
                  <a:pt x="7473946" y="3117854"/>
                </a:lnTo>
                <a:lnTo>
                  <a:pt x="4445000" y="3117854"/>
                </a:lnTo>
                <a:lnTo>
                  <a:pt x="4445000" y="4470400"/>
                </a:lnTo>
                <a:lnTo>
                  <a:pt x="3041654" y="4470400"/>
                </a:lnTo>
                <a:lnTo>
                  <a:pt x="3041654" y="6858000"/>
                </a:lnTo>
                <a:lnTo>
                  <a:pt x="2692400" y="6858000"/>
                </a:lnTo>
                <a:lnTo>
                  <a:pt x="2692400" y="4470400"/>
                </a:lnTo>
                <a:lnTo>
                  <a:pt x="0" y="4470400"/>
                </a:lnTo>
                <a:lnTo>
                  <a:pt x="0" y="4121146"/>
                </a:lnTo>
                <a:lnTo>
                  <a:pt x="2692400" y="4121146"/>
                </a:lnTo>
                <a:lnTo>
                  <a:pt x="2692400" y="2768600"/>
                </a:lnTo>
                <a:lnTo>
                  <a:pt x="4095746" y="27686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Graphic 9">
            <a:extLst>
              <a:ext uri="{FF2B5EF4-FFF2-40B4-BE49-F238E27FC236}">
                <a16:creationId xmlns:a16="http://schemas.microsoft.com/office/drawing/2014/main" id="{D65EBA5A-45A4-4FDB-87D4-13E8DE3EDAD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640287" y="3160532"/>
            <a:ext cx="2503715" cy="3697468"/>
          </a:xfrm>
          <a:prstGeom prst="rect">
            <a:avLst/>
          </a:prstGeom>
        </p:spPr>
      </p:pic>
      <p:sp>
        <p:nvSpPr>
          <p:cNvPr id="11" name="TextBox 10">
            <a:extLst>
              <a:ext uri="{FF2B5EF4-FFF2-40B4-BE49-F238E27FC236}">
                <a16:creationId xmlns:a16="http://schemas.microsoft.com/office/drawing/2014/main" id="{24CDA5B3-99DE-445F-8E8C-5131D05B12D0}"/>
              </a:ext>
            </a:extLst>
          </p:cNvPr>
          <p:cNvSpPr txBox="1"/>
          <p:nvPr userDrawn="1"/>
        </p:nvSpPr>
        <p:spPr>
          <a:xfrm>
            <a:off x="413659" y="564246"/>
            <a:ext cx="2318657" cy="1661993"/>
          </a:xfrm>
          <a:prstGeom prst="rect">
            <a:avLst/>
          </a:prstGeom>
          <a:noFill/>
        </p:spPr>
        <p:txBody>
          <a:bodyPr vert="horz" wrap="square" lIns="0" tIns="0" rIns="0" bIns="0" rtlCol="0">
            <a:spAutoFit/>
          </a:bodyPr>
          <a:lstStyle/>
          <a:p>
            <a:r>
              <a:rPr lang="en-US" sz="5400" dirty="0">
                <a:solidFill>
                  <a:schemeClr val="accent2"/>
                </a:solidFill>
                <a:latin typeface="Calibri Bold" panose="020F0702030404030204" pitchFamily="34" charset="0"/>
              </a:rPr>
              <a:t>Thank you</a:t>
            </a:r>
          </a:p>
        </p:txBody>
      </p:sp>
      <p:pic>
        <p:nvPicPr>
          <p:cNvPr id="12" name="Graphic 11">
            <a:extLst>
              <a:ext uri="{FF2B5EF4-FFF2-40B4-BE49-F238E27FC236}">
                <a16:creationId xmlns:a16="http://schemas.microsoft.com/office/drawing/2014/main" id="{30425EEC-CCE7-4BAA-B8CA-0D16C27AE26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678254" y="4949375"/>
            <a:ext cx="1199046" cy="1770743"/>
          </a:xfrm>
          <a:prstGeom prst="rect">
            <a:avLst/>
          </a:prstGeom>
        </p:spPr>
      </p:pic>
    </p:spTree>
    <p:extLst>
      <p:ext uri="{BB962C8B-B14F-4D97-AF65-F5344CB8AC3E}">
        <p14:creationId xmlns:p14="http://schemas.microsoft.com/office/powerpoint/2010/main" val="3761304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14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10" name="Rectangle 9">
            <a:extLst>
              <a:ext uri="{FF2B5EF4-FFF2-40B4-BE49-F238E27FC236}">
                <a16:creationId xmlns:a16="http://schemas.microsoft.com/office/drawing/2014/main" id="{012850A3-3559-41AF-AF84-BB0A253FFE50}"/>
              </a:ext>
            </a:extLst>
          </p:cNvPr>
          <p:cNvSpPr/>
          <p:nvPr userDrawn="1"/>
        </p:nvSpPr>
        <p:spPr>
          <a:xfrm>
            <a:off x="3" y="0"/>
            <a:ext cx="9143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Freeform: Shape 35">
            <a:extLst>
              <a:ext uri="{FF2B5EF4-FFF2-40B4-BE49-F238E27FC236}">
                <a16:creationId xmlns:a16="http://schemas.microsoft.com/office/drawing/2014/main" id="{CD579336-F39D-47CB-ABDA-2888C0BE822A}"/>
              </a:ext>
            </a:extLst>
          </p:cNvPr>
          <p:cNvSpPr/>
          <p:nvPr userDrawn="1"/>
        </p:nvSpPr>
        <p:spPr>
          <a:xfrm rot="1160032">
            <a:off x="-879713" y="414719"/>
            <a:ext cx="3809127" cy="6721852"/>
          </a:xfrm>
          <a:custGeom>
            <a:avLst/>
            <a:gdLst>
              <a:gd name="connsiteX0" fmla="*/ 0 w 5078836"/>
              <a:gd name="connsiteY0" fmla="*/ 250607 h 6721852"/>
              <a:gd name="connsiteX1" fmla="*/ 714268 w 5078836"/>
              <a:gd name="connsiteY1" fmla="*/ 0 h 6721852"/>
              <a:gd name="connsiteX2" fmla="*/ 5060629 w 5078836"/>
              <a:gd name="connsiteY2" fmla="*/ 0 h 6721852"/>
              <a:gd name="connsiteX3" fmla="*/ 5078836 w 5078836"/>
              <a:gd name="connsiteY3" fmla="*/ 5736520 h 6721852"/>
              <a:gd name="connsiteX4" fmla="*/ 2270493 w 5078836"/>
              <a:gd name="connsiteY4" fmla="*/ 6721852 h 6721852"/>
              <a:gd name="connsiteX5" fmla="*/ 2161668 w 5078836"/>
              <a:gd name="connsiteY5" fmla="*/ 6411686 h 6721852"/>
              <a:gd name="connsiteX6" fmla="*/ 2292260 w 5078836"/>
              <a:gd name="connsiteY6" fmla="*/ 6411686 h 6721852"/>
              <a:gd name="connsiteX7" fmla="*/ 2691403 w 5078836"/>
              <a:gd name="connsiteY7" fmla="*/ 6012543 h 6721852"/>
              <a:gd name="connsiteX8" fmla="*/ 2292260 w 5078836"/>
              <a:gd name="connsiteY8" fmla="*/ 5613400 h 6721852"/>
              <a:gd name="connsiteX9" fmla="*/ 1881582 w 5078836"/>
              <a:gd name="connsiteY9" fmla="*/ 5613400 h 6721852"/>
              <a:gd name="connsiteX10" fmla="*/ 1708438 w 5078836"/>
              <a:gd name="connsiteY10" fmla="*/ 5119914 h 6721852"/>
              <a:gd name="connsiteX11" fmla="*/ 3045085 w 5078836"/>
              <a:gd name="connsiteY11" fmla="*/ 5119914 h 6721852"/>
              <a:gd name="connsiteX12" fmla="*/ 3444228 w 5078836"/>
              <a:gd name="connsiteY12" fmla="*/ 4720771 h 6721852"/>
              <a:gd name="connsiteX13" fmla="*/ 3045085 w 5078836"/>
              <a:gd name="connsiteY13" fmla="*/ 4321628 h 6721852"/>
              <a:gd name="connsiteX14" fmla="*/ 1428352 w 5078836"/>
              <a:gd name="connsiteY14" fmla="*/ 4321628 h 6721852"/>
              <a:gd name="connsiteX15" fmla="*/ 1255209 w 5078836"/>
              <a:gd name="connsiteY15" fmla="*/ 3828143 h 6721852"/>
              <a:gd name="connsiteX16" fmla="*/ 3959485 w 5078836"/>
              <a:gd name="connsiteY16" fmla="*/ 3828143 h 6721852"/>
              <a:gd name="connsiteX17" fmla="*/ 4358628 w 5078836"/>
              <a:gd name="connsiteY17" fmla="*/ 3429000 h 6721852"/>
              <a:gd name="connsiteX18" fmla="*/ 3959485 w 5078836"/>
              <a:gd name="connsiteY18" fmla="*/ 3029857 h 6721852"/>
              <a:gd name="connsiteX19" fmla="*/ 975123 w 5078836"/>
              <a:gd name="connsiteY19" fmla="*/ 3029857 h 6721852"/>
              <a:gd name="connsiteX20" fmla="*/ 801980 w 5078836"/>
              <a:gd name="connsiteY20" fmla="*/ 2536372 h 6721852"/>
              <a:gd name="connsiteX21" fmla="*/ 3045085 w 5078836"/>
              <a:gd name="connsiteY21" fmla="*/ 2536372 h 6721852"/>
              <a:gd name="connsiteX22" fmla="*/ 3444228 w 5078836"/>
              <a:gd name="connsiteY22" fmla="*/ 2137229 h 6721852"/>
              <a:gd name="connsiteX23" fmla="*/ 3045085 w 5078836"/>
              <a:gd name="connsiteY23" fmla="*/ 1738086 h 6721852"/>
              <a:gd name="connsiteX24" fmla="*/ 521894 w 5078836"/>
              <a:gd name="connsiteY24" fmla="*/ 1738086 h 6721852"/>
              <a:gd name="connsiteX25" fmla="*/ 348751 w 5078836"/>
              <a:gd name="connsiteY25" fmla="*/ 1244601 h 6721852"/>
              <a:gd name="connsiteX26" fmla="*/ 2292260 w 5078836"/>
              <a:gd name="connsiteY26" fmla="*/ 1244601 h 6721852"/>
              <a:gd name="connsiteX27" fmla="*/ 2691403 w 5078836"/>
              <a:gd name="connsiteY27" fmla="*/ 845458 h 6721852"/>
              <a:gd name="connsiteX28" fmla="*/ 2292260 w 5078836"/>
              <a:gd name="connsiteY28" fmla="*/ 446315 h 6721852"/>
              <a:gd name="connsiteX29" fmla="*/ 68665 w 5078836"/>
              <a:gd name="connsiteY29" fmla="*/ 446315 h 672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78836" h="6721852">
                <a:moveTo>
                  <a:pt x="0" y="250607"/>
                </a:moveTo>
                <a:lnTo>
                  <a:pt x="714268" y="0"/>
                </a:lnTo>
                <a:lnTo>
                  <a:pt x="5060629" y="0"/>
                </a:lnTo>
                <a:lnTo>
                  <a:pt x="5078836" y="5736520"/>
                </a:lnTo>
                <a:lnTo>
                  <a:pt x="2270493" y="6721852"/>
                </a:lnTo>
                <a:lnTo>
                  <a:pt x="2161668" y="6411686"/>
                </a:lnTo>
                <a:lnTo>
                  <a:pt x="2292260" y="6411686"/>
                </a:lnTo>
                <a:cubicBezTo>
                  <a:pt x="2512701" y="6411686"/>
                  <a:pt x="2691403" y="6232984"/>
                  <a:pt x="2691403" y="6012543"/>
                </a:cubicBezTo>
                <a:cubicBezTo>
                  <a:pt x="2691403" y="5792102"/>
                  <a:pt x="2512701" y="5613400"/>
                  <a:pt x="2292260" y="5613400"/>
                </a:cubicBezTo>
                <a:lnTo>
                  <a:pt x="1881582" y="5613400"/>
                </a:lnTo>
                <a:lnTo>
                  <a:pt x="1708438" y="5119914"/>
                </a:lnTo>
                <a:lnTo>
                  <a:pt x="3045085" y="5119914"/>
                </a:lnTo>
                <a:cubicBezTo>
                  <a:pt x="3265526" y="5119914"/>
                  <a:pt x="3444228" y="4941212"/>
                  <a:pt x="3444228" y="4720771"/>
                </a:cubicBezTo>
                <a:cubicBezTo>
                  <a:pt x="3444228" y="4500330"/>
                  <a:pt x="3265526" y="4321628"/>
                  <a:pt x="3045085" y="4321628"/>
                </a:cubicBezTo>
                <a:lnTo>
                  <a:pt x="1428352" y="4321628"/>
                </a:lnTo>
                <a:lnTo>
                  <a:pt x="1255209" y="3828143"/>
                </a:lnTo>
                <a:lnTo>
                  <a:pt x="3959485" y="3828143"/>
                </a:lnTo>
                <a:cubicBezTo>
                  <a:pt x="4179926" y="3828143"/>
                  <a:pt x="4358628" y="3649441"/>
                  <a:pt x="4358628" y="3429000"/>
                </a:cubicBezTo>
                <a:cubicBezTo>
                  <a:pt x="4358628" y="3208559"/>
                  <a:pt x="4179926" y="3029857"/>
                  <a:pt x="3959485" y="3029857"/>
                </a:cubicBezTo>
                <a:lnTo>
                  <a:pt x="975123" y="3029857"/>
                </a:lnTo>
                <a:lnTo>
                  <a:pt x="801980" y="2536372"/>
                </a:lnTo>
                <a:lnTo>
                  <a:pt x="3045085" y="2536372"/>
                </a:lnTo>
                <a:cubicBezTo>
                  <a:pt x="3265526" y="2536372"/>
                  <a:pt x="3444228" y="2357670"/>
                  <a:pt x="3444228" y="2137229"/>
                </a:cubicBezTo>
                <a:cubicBezTo>
                  <a:pt x="3444228" y="1916788"/>
                  <a:pt x="3265526" y="1738086"/>
                  <a:pt x="3045085" y="1738086"/>
                </a:cubicBezTo>
                <a:lnTo>
                  <a:pt x="521894" y="1738086"/>
                </a:lnTo>
                <a:lnTo>
                  <a:pt x="348751" y="1244601"/>
                </a:lnTo>
                <a:lnTo>
                  <a:pt x="2292260" y="1244601"/>
                </a:lnTo>
                <a:cubicBezTo>
                  <a:pt x="2512701" y="1244601"/>
                  <a:pt x="2691403" y="1065899"/>
                  <a:pt x="2691403" y="845458"/>
                </a:cubicBezTo>
                <a:cubicBezTo>
                  <a:pt x="2691403" y="625017"/>
                  <a:pt x="2512701" y="446315"/>
                  <a:pt x="2292260" y="446315"/>
                </a:cubicBezTo>
                <a:lnTo>
                  <a:pt x="68665" y="446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4" name="Group 33">
            <a:extLst>
              <a:ext uri="{FF2B5EF4-FFF2-40B4-BE49-F238E27FC236}">
                <a16:creationId xmlns:a16="http://schemas.microsoft.com/office/drawing/2014/main" id="{29A6012A-8B5C-4673-B749-7C1C78EC5376}"/>
              </a:ext>
            </a:extLst>
          </p:cNvPr>
          <p:cNvGrpSpPr/>
          <p:nvPr userDrawn="1"/>
        </p:nvGrpSpPr>
        <p:grpSpPr>
          <a:xfrm>
            <a:off x="580462" y="5971897"/>
            <a:ext cx="1470929" cy="743352"/>
            <a:chOff x="227847" y="5413829"/>
            <a:chExt cx="3824211" cy="1449458"/>
          </a:xfrm>
        </p:grpSpPr>
        <p:sp>
          <p:nvSpPr>
            <p:cNvPr id="13" name="Rectangle 12">
              <a:extLst>
                <a:ext uri="{FF2B5EF4-FFF2-40B4-BE49-F238E27FC236}">
                  <a16:creationId xmlns:a16="http://schemas.microsoft.com/office/drawing/2014/main" id="{77498B78-179E-4F7A-BCE5-6757D8AF3021}"/>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7" name="Graphic 16">
              <a:extLst>
                <a:ext uri="{FF2B5EF4-FFF2-40B4-BE49-F238E27FC236}">
                  <a16:creationId xmlns:a16="http://schemas.microsoft.com/office/drawing/2014/main" id="{E5CEFA80-29A2-4852-A79F-6B7373B33F1E}"/>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819526" y="2798363"/>
            <a:ext cx="4895850"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819526" y="884692"/>
            <a:ext cx="4895850"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819526" y="3991830"/>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3819526" y="512989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grpSp>
        <p:nvGrpSpPr>
          <p:cNvPr id="41" name="Group 40">
            <a:extLst>
              <a:ext uri="{FF2B5EF4-FFF2-40B4-BE49-F238E27FC236}">
                <a16:creationId xmlns:a16="http://schemas.microsoft.com/office/drawing/2014/main" id="{EDF77ED4-80AC-42CA-8EE2-BC74B313EE42}"/>
              </a:ext>
            </a:extLst>
          </p:cNvPr>
          <p:cNvGrpSpPr/>
          <p:nvPr userDrawn="1"/>
        </p:nvGrpSpPr>
        <p:grpSpPr>
          <a:xfrm>
            <a:off x="6734176" y="0"/>
            <a:ext cx="2408624" cy="6870700"/>
            <a:chOff x="8978900" y="0"/>
            <a:chExt cx="3211498" cy="6870700"/>
          </a:xfrm>
        </p:grpSpPr>
        <p:sp>
          <p:nvSpPr>
            <p:cNvPr id="39" name="Freeform: Shape 38">
              <a:extLst>
                <a:ext uri="{FF2B5EF4-FFF2-40B4-BE49-F238E27FC236}">
                  <a16:creationId xmlns:a16="http://schemas.microsoft.com/office/drawing/2014/main" id="{6BCAAD5C-3F52-4981-9CCC-2BB71438BA5D}"/>
                </a:ext>
              </a:extLst>
            </p:cNvPr>
            <p:cNvSpPr/>
            <p:nvPr userDrawn="1"/>
          </p:nvSpPr>
          <p:spPr>
            <a:xfrm>
              <a:off x="8978900" y="0"/>
              <a:ext cx="3211498" cy="6870700"/>
            </a:xfrm>
            <a:custGeom>
              <a:avLst/>
              <a:gdLst>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396972 w 2223721"/>
                <a:gd name="connsiteY6" fmla="*/ 2892564 h 5581290"/>
                <a:gd name="connsiteX7" fmla="*/ 1785723 w 2223721"/>
                <a:gd name="connsiteY7" fmla="*/ 179202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91569"/>
                <a:gd name="connsiteY0" fmla="*/ 0 h 5591626"/>
                <a:gd name="connsiteX1" fmla="*/ 1876687 w 2291569"/>
                <a:gd name="connsiteY1" fmla="*/ 235104 h 5591626"/>
                <a:gd name="connsiteX2" fmla="*/ 2223721 w 2291569"/>
                <a:gd name="connsiteY2" fmla="*/ 2152290 h 5591626"/>
                <a:gd name="connsiteX3" fmla="*/ 591296 w 2291569"/>
                <a:gd name="connsiteY3" fmla="*/ 5591626 h 5591626"/>
                <a:gd name="connsiteX4" fmla="*/ 0 w 2291569"/>
                <a:gd name="connsiteY4" fmla="*/ 5564953 h 5591626"/>
                <a:gd name="connsiteX5" fmla="*/ 219199 w 2291569"/>
                <a:gd name="connsiteY5" fmla="*/ 5398245 h 5591626"/>
                <a:gd name="connsiteX6" fmla="*/ 1874724 w 2291569"/>
                <a:gd name="connsiteY6" fmla="*/ 3295657 h 5591626"/>
                <a:gd name="connsiteX7" fmla="*/ 1872587 w 2291569"/>
                <a:gd name="connsiteY7" fmla="*/ 261888 h 5591626"/>
                <a:gd name="connsiteX8" fmla="*/ 1772505 w 2291569"/>
                <a:gd name="connsiteY8" fmla="*/ 0 h 5591626"/>
                <a:gd name="connsiteX0" fmla="*/ 1772505 w 2322162"/>
                <a:gd name="connsiteY0" fmla="*/ 0 h 5591626"/>
                <a:gd name="connsiteX1" fmla="*/ 1876687 w 2322162"/>
                <a:gd name="connsiteY1" fmla="*/ 235104 h 5591626"/>
                <a:gd name="connsiteX2" fmla="*/ 2258467 w 2322162"/>
                <a:gd name="connsiteY2" fmla="*/ 2348668 h 5591626"/>
                <a:gd name="connsiteX3" fmla="*/ 591296 w 2322162"/>
                <a:gd name="connsiteY3" fmla="*/ 5591626 h 5591626"/>
                <a:gd name="connsiteX4" fmla="*/ 0 w 2322162"/>
                <a:gd name="connsiteY4" fmla="*/ 5564953 h 5591626"/>
                <a:gd name="connsiteX5" fmla="*/ 219199 w 2322162"/>
                <a:gd name="connsiteY5" fmla="*/ 5398245 h 5591626"/>
                <a:gd name="connsiteX6" fmla="*/ 1874724 w 2322162"/>
                <a:gd name="connsiteY6" fmla="*/ 3295657 h 5591626"/>
                <a:gd name="connsiteX7" fmla="*/ 1872587 w 2322162"/>
                <a:gd name="connsiteY7" fmla="*/ 261888 h 5591626"/>
                <a:gd name="connsiteX8" fmla="*/ 1772505 w 2322162"/>
                <a:gd name="connsiteY8" fmla="*/ 0 h 5591626"/>
                <a:gd name="connsiteX0" fmla="*/ 1772505 w 2196566"/>
                <a:gd name="connsiteY0" fmla="*/ 0 h 5591626"/>
                <a:gd name="connsiteX1" fmla="*/ 1876687 w 2196566"/>
                <a:gd name="connsiteY1" fmla="*/ 235104 h 5591626"/>
                <a:gd name="connsiteX2" fmla="*/ 2023934 w 2196566"/>
                <a:gd name="connsiteY2" fmla="*/ 2245311 h 5591626"/>
                <a:gd name="connsiteX3" fmla="*/ 591296 w 2196566"/>
                <a:gd name="connsiteY3" fmla="*/ 5591626 h 5591626"/>
                <a:gd name="connsiteX4" fmla="*/ 0 w 2196566"/>
                <a:gd name="connsiteY4" fmla="*/ 5564953 h 5591626"/>
                <a:gd name="connsiteX5" fmla="*/ 219199 w 2196566"/>
                <a:gd name="connsiteY5" fmla="*/ 5398245 h 5591626"/>
                <a:gd name="connsiteX6" fmla="*/ 1874724 w 2196566"/>
                <a:gd name="connsiteY6" fmla="*/ 3295657 h 5591626"/>
                <a:gd name="connsiteX7" fmla="*/ 1872587 w 2196566"/>
                <a:gd name="connsiteY7" fmla="*/ 261888 h 5591626"/>
                <a:gd name="connsiteX8" fmla="*/ 1772505 w 2196566"/>
                <a:gd name="connsiteY8" fmla="*/ 0 h 559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566" h="5591626">
                  <a:moveTo>
                    <a:pt x="1772505" y="0"/>
                  </a:moveTo>
                  <a:lnTo>
                    <a:pt x="1876687" y="235104"/>
                  </a:lnTo>
                  <a:cubicBezTo>
                    <a:pt x="2095786" y="782376"/>
                    <a:pt x="2238166" y="1352557"/>
                    <a:pt x="2023934" y="2245311"/>
                  </a:cubicBezTo>
                  <a:cubicBezTo>
                    <a:pt x="1809702" y="3138065"/>
                    <a:pt x="1713539" y="5591626"/>
                    <a:pt x="591296" y="5591626"/>
                  </a:cubicBezTo>
                  <a:lnTo>
                    <a:pt x="0" y="5564953"/>
                  </a:lnTo>
                  <a:lnTo>
                    <a:pt x="219199" y="5398245"/>
                  </a:lnTo>
                  <a:cubicBezTo>
                    <a:pt x="859438" y="5052663"/>
                    <a:pt x="1599159" y="4151717"/>
                    <a:pt x="1874724" y="3295657"/>
                  </a:cubicBezTo>
                  <a:cubicBezTo>
                    <a:pt x="2150289" y="2439598"/>
                    <a:pt x="2435456" y="2590305"/>
                    <a:pt x="1872587" y="261888"/>
                  </a:cubicBezTo>
                  <a:lnTo>
                    <a:pt x="1772505" y="0"/>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Freeform: Shape 39">
              <a:extLst>
                <a:ext uri="{FF2B5EF4-FFF2-40B4-BE49-F238E27FC236}">
                  <a16:creationId xmlns:a16="http://schemas.microsoft.com/office/drawing/2014/main" id="{359D0396-6293-4A45-955B-8C84C6B2E50D}"/>
                </a:ext>
              </a:extLst>
            </p:cNvPr>
            <p:cNvSpPr/>
            <p:nvPr userDrawn="1"/>
          </p:nvSpPr>
          <p:spPr>
            <a:xfrm>
              <a:off x="10883900" y="4455958"/>
              <a:ext cx="1128697" cy="2414742"/>
            </a:xfrm>
            <a:custGeom>
              <a:avLst/>
              <a:gdLst>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396972 w 2223721"/>
                <a:gd name="connsiteY6" fmla="*/ 2892564 h 5581290"/>
                <a:gd name="connsiteX7" fmla="*/ 1785723 w 2223721"/>
                <a:gd name="connsiteY7" fmla="*/ 179202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91569"/>
                <a:gd name="connsiteY0" fmla="*/ 0 h 5591626"/>
                <a:gd name="connsiteX1" fmla="*/ 1876687 w 2291569"/>
                <a:gd name="connsiteY1" fmla="*/ 235104 h 5591626"/>
                <a:gd name="connsiteX2" fmla="*/ 2223721 w 2291569"/>
                <a:gd name="connsiteY2" fmla="*/ 2152290 h 5591626"/>
                <a:gd name="connsiteX3" fmla="*/ 591296 w 2291569"/>
                <a:gd name="connsiteY3" fmla="*/ 5591626 h 5591626"/>
                <a:gd name="connsiteX4" fmla="*/ 0 w 2291569"/>
                <a:gd name="connsiteY4" fmla="*/ 5564953 h 5591626"/>
                <a:gd name="connsiteX5" fmla="*/ 219199 w 2291569"/>
                <a:gd name="connsiteY5" fmla="*/ 5398245 h 5591626"/>
                <a:gd name="connsiteX6" fmla="*/ 1874724 w 2291569"/>
                <a:gd name="connsiteY6" fmla="*/ 3295657 h 5591626"/>
                <a:gd name="connsiteX7" fmla="*/ 1872587 w 2291569"/>
                <a:gd name="connsiteY7" fmla="*/ 261888 h 5591626"/>
                <a:gd name="connsiteX8" fmla="*/ 1772505 w 2291569"/>
                <a:gd name="connsiteY8" fmla="*/ 0 h 5591626"/>
                <a:gd name="connsiteX0" fmla="*/ 1772505 w 2322162"/>
                <a:gd name="connsiteY0" fmla="*/ 0 h 5591626"/>
                <a:gd name="connsiteX1" fmla="*/ 1876687 w 2322162"/>
                <a:gd name="connsiteY1" fmla="*/ 235104 h 5591626"/>
                <a:gd name="connsiteX2" fmla="*/ 2258467 w 2322162"/>
                <a:gd name="connsiteY2" fmla="*/ 2348668 h 5591626"/>
                <a:gd name="connsiteX3" fmla="*/ 591296 w 2322162"/>
                <a:gd name="connsiteY3" fmla="*/ 5591626 h 5591626"/>
                <a:gd name="connsiteX4" fmla="*/ 0 w 2322162"/>
                <a:gd name="connsiteY4" fmla="*/ 5564953 h 5591626"/>
                <a:gd name="connsiteX5" fmla="*/ 219199 w 2322162"/>
                <a:gd name="connsiteY5" fmla="*/ 5398245 h 5591626"/>
                <a:gd name="connsiteX6" fmla="*/ 1874724 w 2322162"/>
                <a:gd name="connsiteY6" fmla="*/ 3295657 h 5591626"/>
                <a:gd name="connsiteX7" fmla="*/ 1872587 w 2322162"/>
                <a:gd name="connsiteY7" fmla="*/ 261888 h 5591626"/>
                <a:gd name="connsiteX8" fmla="*/ 1772505 w 2322162"/>
                <a:gd name="connsiteY8" fmla="*/ 0 h 5591626"/>
                <a:gd name="connsiteX0" fmla="*/ 1772505 w 2196566"/>
                <a:gd name="connsiteY0" fmla="*/ 0 h 5591626"/>
                <a:gd name="connsiteX1" fmla="*/ 1876687 w 2196566"/>
                <a:gd name="connsiteY1" fmla="*/ 235104 h 5591626"/>
                <a:gd name="connsiteX2" fmla="*/ 2023934 w 2196566"/>
                <a:gd name="connsiteY2" fmla="*/ 2245311 h 5591626"/>
                <a:gd name="connsiteX3" fmla="*/ 591296 w 2196566"/>
                <a:gd name="connsiteY3" fmla="*/ 5591626 h 5591626"/>
                <a:gd name="connsiteX4" fmla="*/ 0 w 2196566"/>
                <a:gd name="connsiteY4" fmla="*/ 5564953 h 5591626"/>
                <a:gd name="connsiteX5" fmla="*/ 219199 w 2196566"/>
                <a:gd name="connsiteY5" fmla="*/ 5398245 h 5591626"/>
                <a:gd name="connsiteX6" fmla="*/ 1874724 w 2196566"/>
                <a:gd name="connsiteY6" fmla="*/ 3295657 h 5591626"/>
                <a:gd name="connsiteX7" fmla="*/ 1872587 w 2196566"/>
                <a:gd name="connsiteY7" fmla="*/ 261888 h 5591626"/>
                <a:gd name="connsiteX8" fmla="*/ 1772505 w 2196566"/>
                <a:gd name="connsiteY8" fmla="*/ 0 h 559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566" h="5591626">
                  <a:moveTo>
                    <a:pt x="1772505" y="0"/>
                  </a:moveTo>
                  <a:lnTo>
                    <a:pt x="1876687" y="235104"/>
                  </a:lnTo>
                  <a:cubicBezTo>
                    <a:pt x="2095786" y="782376"/>
                    <a:pt x="2238166" y="1352557"/>
                    <a:pt x="2023934" y="2245311"/>
                  </a:cubicBezTo>
                  <a:cubicBezTo>
                    <a:pt x="1809702" y="3138065"/>
                    <a:pt x="1713539" y="5591626"/>
                    <a:pt x="591296" y="5591626"/>
                  </a:cubicBezTo>
                  <a:lnTo>
                    <a:pt x="0" y="5564953"/>
                  </a:lnTo>
                  <a:lnTo>
                    <a:pt x="219199" y="5398245"/>
                  </a:lnTo>
                  <a:cubicBezTo>
                    <a:pt x="859438" y="5052663"/>
                    <a:pt x="1599159" y="4151717"/>
                    <a:pt x="1874724" y="3295657"/>
                  </a:cubicBezTo>
                  <a:cubicBezTo>
                    <a:pt x="2150289" y="2439598"/>
                    <a:pt x="2435456" y="2590305"/>
                    <a:pt x="1872587" y="261888"/>
                  </a:cubicBezTo>
                  <a:lnTo>
                    <a:pt x="1772505" y="0"/>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6699331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8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57689"/>
            <a:ext cx="7772400" cy="415498"/>
          </a:xfrm>
        </p:spPr>
        <p:txBody>
          <a:bodyPr/>
          <a:lstStyle/>
          <a:p>
            <a:r>
              <a:rPr lang="en-US"/>
              <a:t>Click to edit Master title style</a:t>
            </a:r>
          </a:p>
        </p:txBody>
      </p:sp>
      <p:sp>
        <p:nvSpPr>
          <p:cNvPr id="3" name="Subtitle 2"/>
          <p:cNvSpPr>
            <a:spLocks noGrp="1"/>
          </p:cNvSpPr>
          <p:nvPr>
            <p:ph type="subTitle" idx="1"/>
          </p:nvPr>
        </p:nvSpPr>
        <p:spPr>
          <a:xfrm>
            <a:off x="1371600" y="3886204"/>
            <a:ext cx="6400800" cy="221599"/>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Tree>
    <p:extLst>
      <p:ext uri="{BB962C8B-B14F-4D97-AF65-F5344CB8AC3E}">
        <p14:creationId xmlns:p14="http://schemas.microsoft.com/office/powerpoint/2010/main" val="2211431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259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9" name="Freeform: Shape 8">
            <a:extLst>
              <a:ext uri="{FF2B5EF4-FFF2-40B4-BE49-F238E27FC236}">
                <a16:creationId xmlns:a16="http://schemas.microsoft.com/office/drawing/2014/main" id="{9B7F72BB-DD02-46F7-AC9A-62DC360DD6BE}"/>
              </a:ext>
            </a:extLst>
          </p:cNvPr>
          <p:cNvSpPr/>
          <p:nvPr userDrawn="1"/>
        </p:nvSpPr>
        <p:spPr>
          <a:xfrm>
            <a:off x="0" y="0"/>
            <a:ext cx="5867400" cy="6858000"/>
          </a:xfrm>
          <a:custGeom>
            <a:avLst/>
            <a:gdLst>
              <a:gd name="connsiteX0" fmla="*/ 3041654 w 7823200"/>
              <a:gd name="connsiteY0" fmla="*/ 3117854 h 6858000"/>
              <a:gd name="connsiteX1" fmla="*/ 3041654 w 7823200"/>
              <a:gd name="connsiteY1" fmla="*/ 4121146 h 6858000"/>
              <a:gd name="connsiteX2" fmla="*/ 4095746 w 7823200"/>
              <a:gd name="connsiteY2" fmla="*/ 4121146 h 6858000"/>
              <a:gd name="connsiteX3" fmla="*/ 4095746 w 7823200"/>
              <a:gd name="connsiteY3" fmla="*/ 3117854 h 6858000"/>
              <a:gd name="connsiteX4" fmla="*/ 4095746 w 7823200"/>
              <a:gd name="connsiteY4" fmla="*/ 0 h 6858000"/>
              <a:gd name="connsiteX5" fmla="*/ 4445000 w 7823200"/>
              <a:gd name="connsiteY5" fmla="*/ 0 h 6858000"/>
              <a:gd name="connsiteX6" fmla="*/ 4445000 w 7823200"/>
              <a:gd name="connsiteY6" fmla="*/ 2768600 h 6858000"/>
              <a:gd name="connsiteX7" fmla="*/ 7823200 w 7823200"/>
              <a:gd name="connsiteY7" fmla="*/ 2768600 h 6858000"/>
              <a:gd name="connsiteX8" fmla="*/ 7823200 w 7823200"/>
              <a:gd name="connsiteY8" fmla="*/ 6858000 h 6858000"/>
              <a:gd name="connsiteX9" fmla="*/ 7473946 w 7823200"/>
              <a:gd name="connsiteY9" fmla="*/ 6858000 h 6858000"/>
              <a:gd name="connsiteX10" fmla="*/ 7473946 w 7823200"/>
              <a:gd name="connsiteY10" fmla="*/ 3117854 h 6858000"/>
              <a:gd name="connsiteX11" fmla="*/ 4445000 w 7823200"/>
              <a:gd name="connsiteY11" fmla="*/ 3117854 h 6858000"/>
              <a:gd name="connsiteX12" fmla="*/ 4445000 w 7823200"/>
              <a:gd name="connsiteY12" fmla="*/ 4470400 h 6858000"/>
              <a:gd name="connsiteX13" fmla="*/ 3041654 w 7823200"/>
              <a:gd name="connsiteY13" fmla="*/ 4470400 h 6858000"/>
              <a:gd name="connsiteX14" fmla="*/ 3041654 w 7823200"/>
              <a:gd name="connsiteY14" fmla="*/ 6858000 h 6858000"/>
              <a:gd name="connsiteX15" fmla="*/ 2692400 w 7823200"/>
              <a:gd name="connsiteY15" fmla="*/ 6858000 h 6858000"/>
              <a:gd name="connsiteX16" fmla="*/ 2692400 w 7823200"/>
              <a:gd name="connsiteY16" fmla="*/ 4470400 h 6858000"/>
              <a:gd name="connsiteX17" fmla="*/ 0 w 7823200"/>
              <a:gd name="connsiteY17" fmla="*/ 4470400 h 6858000"/>
              <a:gd name="connsiteX18" fmla="*/ 0 w 7823200"/>
              <a:gd name="connsiteY18" fmla="*/ 4121146 h 6858000"/>
              <a:gd name="connsiteX19" fmla="*/ 2692400 w 7823200"/>
              <a:gd name="connsiteY19" fmla="*/ 4121146 h 6858000"/>
              <a:gd name="connsiteX20" fmla="*/ 2692400 w 7823200"/>
              <a:gd name="connsiteY20" fmla="*/ 2768600 h 6858000"/>
              <a:gd name="connsiteX21" fmla="*/ 4095746 w 7823200"/>
              <a:gd name="connsiteY21" fmla="*/ 2768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23200" h="6858000">
                <a:moveTo>
                  <a:pt x="3041654" y="3117854"/>
                </a:moveTo>
                <a:lnTo>
                  <a:pt x="3041654" y="4121146"/>
                </a:lnTo>
                <a:lnTo>
                  <a:pt x="4095746" y="4121146"/>
                </a:lnTo>
                <a:lnTo>
                  <a:pt x="4095746" y="3117854"/>
                </a:lnTo>
                <a:close/>
                <a:moveTo>
                  <a:pt x="4095746" y="0"/>
                </a:moveTo>
                <a:lnTo>
                  <a:pt x="4445000" y="0"/>
                </a:lnTo>
                <a:lnTo>
                  <a:pt x="4445000" y="2768600"/>
                </a:lnTo>
                <a:lnTo>
                  <a:pt x="7823200" y="2768600"/>
                </a:lnTo>
                <a:lnTo>
                  <a:pt x="7823200" y="6858000"/>
                </a:lnTo>
                <a:lnTo>
                  <a:pt x="7473946" y="6858000"/>
                </a:lnTo>
                <a:lnTo>
                  <a:pt x="7473946" y="3117854"/>
                </a:lnTo>
                <a:lnTo>
                  <a:pt x="4445000" y="3117854"/>
                </a:lnTo>
                <a:lnTo>
                  <a:pt x="4445000" y="4470400"/>
                </a:lnTo>
                <a:lnTo>
                  <a:pt x="3041654" y="4470400"/>
                </a:lnTo>
                <a:lnTo>
                  <a:pt x="3041654" y="6858000"/>
                </a:lnTo>
                <a:lnTo>
                  <a:pt x="2692400" y="6858000"/>
                </a:lnTo>
                <a:lnTo>
                  <a:pt x="2692400" y="4470400"/>
                </a:lnTo>
                <a:lnTo>
                  <a:pt x="0" y="4470400"/>
                </a:lnTo>
                <a:lnTo>
                  <a:pt x="0" y="4121146"/>
                </a:lnTo>
                <a:lnTo>
                  <a:pt x="2692400" y="4121146"/>
                </a:lnTo>
                <a:lnTo>
                  <a:pt x="2692400" y="2768600"/>
                </a:lnTo>
                <a:lnTo>
                  <a:pt x="4095746" y="27686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Graphic 9">
            <a:extLst>
              <a:ext uri="{FF2B5EF4-FFF2-40B4-BE49-F238E27FC236}">
                <a16:creationId xmlns:a16="http://schemas.microsoft.com/office/drawing/2014/main" id="{D65EBA5A-45A4-4FDB-87D4-13E8DE3EDAD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640287" y="3160532"/>
            <a:ext cx="2503715" cy="3697468"/>
          </a:xfrm>
          <a:prstGeom prst="rect">
            <a:avLst/>
          </a:prstGeom>
        </p:spPr>
      </p:pic>
      <p:sp>
        <p:nvSpPr>
          <p:cNvPr id="11" name="TextBox 10">
            <a:extLst>
              <a:ext uri="{FF2B5EF4-FFF2-40B4-BE49-F238E27FC236}">
                <a16:creationId xmlns:a16="http://schemas.microsoft.com/office/drawing/2014/main" id="{24CDA5B3-99DE-445F-8E8C-5131D05B12D0}"/>
              </a:ext>
            </a:extLst>
          </p:cNvPr>
          <p:cNvSpPr txBox="1"/>
          <p:nvPr userDrawn="1"/>
        </p:nvSpPr>
        <p:spPr>
          <a:xfrm>
            <a:off x="413659" y="564246"/>
            <a:ext cx="2318657" cy="1661993"/>
          </a:xfrm>
          <a:prstGeom prst="rect">
            <a:avLst/>
          </a:prstGeom>
          <a:noFill/>
        </p:spPr>
        <p:txBody>
          <a:bodyPr vert="horz" wrap="square" lIns="0" tIns="0" rIns="0" bIns="0" rtlCol="0">
            <a:spAutoFit/>
          </a:bodyPr>
          <a:lstStyle/>
          <a:p>
            <a:r>
              <a:rPr lang="en-US" sz="5400" dirty="0">
                <a:solidFill>
                  <a:schemeClr val="accent2"/>
                </a:solidFill>
                <a:latin typeface="Calibri Bold" panose="020F0702030404030204" pitchFamily="34" charset="0"/>
              </a:rPr>
              <a:t>Thank you</a:t>
            </a:r>
          </a:p>
        </p:txBody>
      </p:sp>
      <p:pic>
        <p:nvPicPr>
          <p:cNvPr id="12" name="Graphic 11">
            <a:extLst>
              <a:ext uri="{FF2B5EF4-FFF2-40B4-BE49-F238E27FC236}">
                <a16:creationId xmlns:a16="http://schemas.microsoft.com/office/drawing/2014/main" id="{30425EEC-CCE7-4BAA-B8CA-0D16C27AE26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678254" y="4949375"/>
            <a:ext cx="1199046" cy="1770743"/>
          </a:xfrm>
          <a:prstGeom prst="rect">
            <a:avLst/>
          </a:prstGeom>
        </p:spPr>
      </p:pic>
    </p:spTree>
    <p:extLst>
      <p:ext uri="{BB962C8B-B14F-4D97-AF65-F5344CB8AC3E}">
        <p14:creationId xmlns:p14="http://schemas.microsoft.com/office/powerpoint/2010/main" val="4120132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362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08BA4E9A-AA20-4054-B53F-E6C45034F572}" type="datetimeFigureOut">
              <a:rPr lang="en-US" smtClean="0"/>
              <a:pPr/>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857250" y="1524004"/>
            <a:ext cx="4114800" cy="13295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39315307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464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9" name="Picture 34" descr="https://www.nephros.com/wp-content/uploads/2016/09/Dialysis-Filter.jpg">
            <a:extLst>
              <a:ext uri="{FF2B5EF4-FFF2-40B4-BE49-F238E27FC236}">
                <a16:creationId xmlns:a16="http://schemas.microsoft.com/office/drawing/2014/main" id="{21319731-7DFE-4C32-A997-AB0784338821}"/>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12850A3-3559-41AF-AF84-BB0A253FFE50}"/>
              </a:ext>
            </a:extLst>
          </p:cNvPr>
          <p:cNvSpPr/>
          <p:nvPr userDrawn="1"/>
        </p:nvSpPr>
        <p:spPr>
          <a:xfrm>
            <a:off x="2" y="0"/>
            <a:ext cx="334050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a:extLst>
              <a:ext uri="{FF2B5EF4-FFF2-40B4-BE49-F238E27FC236}">
                <a16:creationId xmlns:a16="http://schemas.microsoft.com/office/drawing/2014/main" id="{77498B78-179E-4F7A-BCE5-6757D8AF3021}"/>
              </a:ext>
            </a:extLst>
          </p:cNvPr>
          <p:cNvSpPr/>
          <p:nvPr userDrawn="1"/>
        </p:nvSpPr>
        <p:spPr>
          <a:xfrm>
            <a:off x="225316" y="4914905"/>
            <a:ext cx="2868158" cy="1948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a:extLst>
              <a:ext uri="{FF2B5EF4-FFF2-40B4-BE49-F238E27FC236}">
                <a16:creationId xmlns:a16="http://schemas.microsoft.com/office/drawing/2014/main" id="{691FA014-9CB4-4E81-A6A2-20DDB11EC241}"/>
              </a:ext>
            </a:extLst>
          </p:cNvPr>
          <p:cNvSpPr/>
          <p:nvPr userDrawn="1"/>
        </p:nvSpPr>
        <p:spPr>
          <a:xfrm>
            <a:off x="225316" y="0"/>
            <a:ext cx="2868158" cy="419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7" name="Graphic 16">
            <a:extLst>
              <a:ext uri="{FF2B5EF4-FFF2-40B4-BE49-F238E27FC236}">
                <a16:creationId xmlns:a16="http://schemas.microsoft.com/office/drawing/2014/main" id="{E5CEFA80-29A2-4852-A79F-6B7373B33F1E}"/>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520102" y="5332438"/>
            <a:ext cx="2278586" cy="1113312"/>
          </a:xfrm>
          <a:prstGeom prst="rect">
            <a:avLst/>
          </a:prstGeom>
        </p:spPr>
      </p:pic>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94026" y="2592393"/>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94026" y="568369"/>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94026" y="3486071"/>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194026" y="4324355"/>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Tree>
    <p:extLst>
      <p:ext uri="{BB962C8B-B14F-4D97-AF65-F5344CB8AC3E}">
        <p14:creationId xmlns:p14="http://schemas.microsoft.com/office/powerpoint/2010/main" val="2023636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567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10" name="Rectangle 9">
            <a:extLst>
              <a:ext uri="{FF2B5EF4-FFF2-40B4-BE49-F238E27FC236}">
                <a16:creationId xmlns:a16="http://schemas.microsoft.com/office/drawing/2014/main" id="{012850A3-3559-41AF-AF84-BB0A253FFE50}"/>
              </a:ext>
            </a:extLst>
          </p:cNvPr>
          <p:cNvSpPr/>
          <p:nvPr userDrawn="1"/>
        </p:nvSpPr>
        <p:spPr>
          <a:xfrm>
            <a:off x="3" y="0"/>
            <a:ext cx="9143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Freeform: Shape 35">
            <a:extLst>
              <a:ext uri="{FF2B5EF4-FFF2-40B4-BE49-F238E27FC236}">
                <a16:creationId xmlns:a16="http://schemas.microsoft.com/office/drawing/2014/main" id="{CD579336-F39D-47CB-ABDA-2888C0BE822A}"/>
              </a:ext>
            </a:extLst>
          </p:cNvPr>
          <p:cNvSpPr/>
          <p:nvPr userDrawn="1"/>
        </p:nvSpPr>
        <p:spPr>
          <a:xfrm rot="1160032">
            <a:off x="-879713" y="414719"/>
            <a:ext cx="3809127" cy="6721852"/>
          </a:xfrm>
          <a:custGeom>
            <a:avLst/>
            <a:gdLst>
              <a:gd name="connsiteX0" fmla="*/ 0 w 5078836"/>
              <a:gd name="connsiteY0" fmla="*/ 250607 h 6721852"/>
              <a:gd name="connsiteX1" fmla="*/ 714268 w 5078836"/>
              <a:gd name="connsiteY1" fmla="*/ 0 h 6721852"/>
              <a:gd name="connsiteX2" fmla="*/ 5060629 w 5078836"/>
              <a:gd name="connsiteY2" fmla="*/ 0 h 6721852"/>
              <a:gd name="connsiteX3" fmla="*/ 5078836 w 5078836"/>
              <a:gd name="connsiteY3" fmla="*/ 5736520 h 6721852"/>
              <a:gd name="connsiteX4" fmla="*/ 2270493 w 5078836"/>
              <a:gd name="connsiteY4" fmla="*/ 6721852 h 6721852"/>
              <a:gd name="connsiteX5" fmla="*/ 2161668 w 5078836"/>
              <a:gd name="connsiteY5" fmla="*/ 6411686 h 6721852"/>
              <a:gd name="connsiteX6" fmla="*/ 2292260 w 5078836"/>
              <a:gd name="connsiteY6" fmla="*/ 6411686 h 6721852"/>
              <a:gd name="connsiteX7" fmla="*/ 2691403 w 5078836"/>
              <a:gd name="connsiteY7" fmla="*/ 6012543 h 6721852"/>
              <a:gd name="connsiteX8" fmla="*/ 2292260 w 5078836"/>
              <a:gd name="connsiteY8" fmla="*/ 5613400 h 6721852"/>
              <a:gd name="connsiteX9" fmla="*/ 1881582 w 5078836"/>
              <a:gd name="connsiteY9" fmla="*/ 5613400 h 6721852"/>
              <a:gd name="connsiteX10" fmla="*/ 1708438 w 5078836"/>
              <a:gd name="connsiteY10" fmla="*/ 5119914 h 6721852"/>
              <a:gd name="connsiteX11" fmla="*/ 3045085 w 5078836"/>
              <a:gd name="connsiteY11" fmla="*/ 5119914 h 6721852"/>
              <a:gd name="connsiteX12" fmla="*/ 3444228 w 5078836"/>
              <a:gd name="connsiteY12" fmla="*/ 4720771 h 6721852"/>
              <a:gd name="connsiteX13" fmla="*/ 3045085 w 5078836"/>
              <a:gd name="connsiteY13" fmla="*/ 4321628 h 6721852"/>
              <a:gd name="connsiteX14" fmla="*/ 1428352 w 5078836"/>
              <a:gd name="connsiteY14" fmla="*/ 4321628 h 6721852"/>
              <a:gd name="connsiteX15" fmla="*/ 1255209 w 5078836"/>
              <a:gd name="connsiteY15" fmla="*/ 3828143 h 6721852"/>
              <a:gd name="connsiteX16" fmla="*/ 3959485 w 5078836"/>
              <a:gd name="connsiteY16" fmla="*/ 3828143 h 6721852"/>
              <a:gd name="connsiteX17" fmla="*/ 4358628 w 5078836"/>
              <a:gd name="connsiteY17" fmla="*/ 3429000 h 6721852"/>
              <a:gd name="connsiteX18" fmla="*/ 3959485 w 5078836"/>
              <a:gd name="connsiteY18" fmla="*/ 3029857 h 6721852"/>
              <a:gd name="connsiteX19" fmla="*/ 975123 w 5078836"/>
              <a:gd name="connsiteY19" fmla="*/ 3029857 h 6721852"/>
              <a:gd name="connsiteX20" fmla="*/ 801980 w 5078836"/>
              <a:gd name="connsiteY20" fmla="*/ 2536372 h 6721852"/>
              <a:gd name="connsiteX21" fmla="*/ 3045085 w 5078836"/>
              <a:gd name="connsiteY21" fmla="*/ 2536372 h 6721852"/>
              <a:gd name="connsiteX22" fmla="*/ 3444228 w 5078836"/>
              <a:gd name="connsiteY22" fmla="*/ 2137229 h 6721852"/>
              <a:gd name="connsiteX23" fmla="*/ 3045085 w 5078836"/>
              <a:gd name="connsiteY23" fmla="*/ 1738086 h 6721852"/>
              <a:gd name="connsiteX24" fmla="*/ 521894 w 5078836"/>
              <a:gd name="connsiteY24" fmla="*/ 1738086 h 6721852"/>
              <a:gd name="connsiteX25" fmla="*/ 348751 w 5078836"/>
              <a:gd name="connsiteY25" fmla="*/ 1244601 h 6721852"/>
              <a:gd name="connsiteX26" fmla="*/ 2292260 w 5078836"/>
              <a:gd name="connsiteY26" fmla="*/ 1244601 h 6721852"/>
              <a:gd name="connsiteX27" fmla="*/ 2691403 w 5078836"/>
              <a:gd name="connsiteY27" fmla="*/ 845458 h 6721852"/>
              <a:gd name="connsiteX28" fmla="*/ 2292260 w 5078836"/>
              <a:gd name="connsiteY28" fmla="*/ 446315 h 6721852"/>
              <a:gd name="connsiteX29" fmla="*/ 68665 w 5078836"/>
              <a:gd name="connsiteY29" fmla="*/ 446315 h 672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78836" h="6721852">
                <a:moveTo>
                  <a:pt x="0" y="250607"/>
                </a:moveTo>
                <a:lnTo>
                  <a:pt x="714268" y="0"/>
                </a:lnTo>
                <a:lnTo>
                  <a:pt x="5060629" y="0"/>
                </a:lnTo>
                <a:lnTo>
                  <a:pt x="5078836" y="5736520"/>
                </a:lnTo>
                <a:lnTo>
                  <a:pt x="2270493" y="6721852"/>
                </a:lnTo>
                <a:lnTo>
                  <a:pt x="2161668" y="6411686"/>
                </a:lnTo>
                <a:lnTo>
                  <a:pt x="2292260" y="6411686"/>
                </a:lnTo>
                <a:cubicBezTo>
                  <a:pt x="2512701" y="6411686"/>
                  <a:pt x="2691403" y="6232984"/>
                  <a:pt x="2691403" y="6012543"/>
                </a:cubicBezTo>
                <a:cubicBezTo>
                  <a:pt x="2691403" y="5792102"/>
                  <a:pt x="2512701" y="5613400"/>
                  <a:pt x="2292260" y="5613400"/>
                </a:cubicBezTo>
                <a:lnTo>
                  <a:pt x="1881582" y="5613400"/>
                </a:lnTo>
                <a:lnTo>
                  <a:pt x="1708438" y="5119914"/>
                </a:lnTo>
                <a:lnTo>
                  <a:pt x="3045085" y="5119914"/>
                </a:lnTo>
                <a:cubicBezTo>
                  <a:pt x="3265526" y="5119914"/>
                  <a:pt x="3444228" y="4941212"/>
                  <a:pt x="3444228" y="4720771"/>
                </a:cubicBezTo>
                <a:cubicBezTo>
                  <a:pt x="3444228" y="4500330"/>
                  <a:pt x="3265526" y="4321628"/>
                  <a:pt x="3045085" y="4321628"/>
                </a:cubicBezTo>
                <a:lnTo>
                  <a:pt x="1428352" y="4321628"/>
                </a:lnTo>
                <a:lnTo>
                  <a:pt x="1255209" y="3828143"/>
                </a:lnTo>
                <a:lnTo>
                  <a:pt x="3959485" y="3828143"/>
                </a:lnTo>
                <a:cubicBezTo>
                  <a:pt x="4179926" y="3828143"/>
                  <a:pt x="4358628" y="3649441"/>
                  <a:pt x="4358628" y="3429000"/>
                </a:cubicBezTo>
                <a:cubicBezTo>
                  <a:pt x="4358628" y="3208559"/>
                  <a:pt x="4179926" y="3029857"/>
                  <a:pt x="3959485" y="3029857"/>
                </a:cubicBezTo>
                <a:lnTo>
                  <a:pt x="975123" y="3029857"/>
                </a:lnTo>
                <a:lnTo>
                  <a:pt x="801980" y="2536372"/>
                </a:lnTo>
                <a:lnTo>
                  <a:pt x="3045085" y="2536372"/>
                </a:lnTo>
                <a:cubicBezTo>
                  <a:pt x="3265526" y="2536372"/>
                  <a:pt x="3444228" y="2357670"/>
                  <a:pt x="3444228" y="2137229"/>
                </a:cubicBezTo>
                <a:cubicBezTo>
                  <a:pt x="3444228" y="1916788"/>
                  <a:pt x="3265526" y="1738086"/>
                  <a:pt x="3045085" y="1738086"/>
                </a:cubicBezTo>
                <a:lnTo>
                  <a:pt x="521894" y="1738086"/>
                </a:lnTo>
                <a:lnTo>
                  <a:pt x="348751" y="1244601"/>
                </a:lnTo>
                <a:lnTo>
                  <a:pt x="2292260" y="1244601"/>
                </a:lnTo>
                <a:cubicBezTo>
                  <a:pt x="2512701" y="1244601"/>
                  <a:pt x="2691403" y="1065899"/>
                  <a:pt x="2691403" y="845458"/>
                </a:cubicBezTo>
                <a:cubicBezTo>
                  <a:pt x="2691403" y="625017"/>
                  <a:pt x="2512701" y="446315"/>
                  <a:pt x="2292260" y="446315"/>
                </a:cubicBezTo>
                <a:lnTo>
                  <a:pt x="68665" y="446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4" name="Group 33">
            <a:extLst>
              <a:ext uri="{FF2B5EF4-FFF2-40B4-BE49-F238E27FC236}">
                <a16:creationId xmlns:a16="http://schemas.microsoft.com/office/drawing/2014/main" id="{29A6012A-8B5C-4673-B749-7C1C78EC5376}"/>
              </a:ext>
            </a:extLst>
          </p:cNvPr>
          <p:cNvGrpSpPr/>
          <p:nvPr userDrawn="1"/>
        </p:nvGrpSpPr>
        <p:grpSpPr>
          <a:xfrm>
            <a:off x="580462" y="5971897"/>
            <a:ext cx="1470929" cy="743352"/>
            <a:chOff x="227847" y="5413829"/>
            <a:chExt cx="3824211" cy="1449458"/>
          </a:xfrm>
        </p:grpSpPr>
        <p:sp>
          <p:nvSpPr>
            <p:cNvPr id="13" name="Rectangle 12">
              <a:extLst>
                <a:ext uri="{FF2B5EF4-FFF2-40B4-BE49-F238E27FC236}">
                  <a16:creationId xmlns:a16="http://schemas.microsoft.com/office/drawing/2014/main" id="{77498B78-179E-4F7A-BCE5-6757D8AF3021}"/>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7" name="Graphic 16">
              <a:extLst>
                <a:ext uri="{FF2B5EF4-FFF2-40B4-BE49-F238E27FC236}">
                  <a16:creationId xmlns:a16="http://schemas.microsoft.com/office/drawing/2014/main" id="{E5CEFA80-29A2-4852-A79F-6B7373B33F1E}"/>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819526" y="2798363"/>
            <a:ext cx="4895850"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819526" y="884692"/>
            <a:ext cx="4895850"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819526" y="3991830"/>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3819526" y="512989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grpSp>
        <p:nvGrpSpPr>
          <p:cNvPr id="41" name="Group 40">
            <a:extLst>
              <a:ext uri="{FF2B5EF4-FFF2-40B4-BE49-F238E27FC236}">
                <a16:creationId xmlns:a16="http://schemas.microsoft.com/office/drawing/2014/main" id="{EDF77ED4-80AC-42CA-8EE2-BC74B313EE42}"/>
              </a:ext>
            </a:extLst>
          </p:cNvPr>
          <p:cNvGrpSpPr/>
          <p:nvPr userDrawn="1"/>
        </p:nvGrpSpPr>
        <p:grpSpPr>
          <a:xfrm>
            <a:off x="6734176" y="0"/>
            <a:ext cx="2408624" cy="6870700"/>
            <a:chOff x="8978900" y="0"/>
            <a:chExt cx="3211498" cy="6870700"/>
          </a:xfrm>
        </p:grpSpPr>
        <p:sp>
          <p:nvSpPr>
            <p:cNvPr id="39" name="Freeform: Shape 38">
              <a:extLst>
                <a:ext uri="{FF2B5EF4-FFF2-40B4-BE49-F238E27FC236}">
                  <a16:creationId xmlns:a16="http://schemas.microsoft.com/office/drawing/2014/main" id="{6BCAAD5C-3F52-4981-9CCC-2BB71438BA5D}"/>
                </a:ext>
              </a:extLst>
            </p:cNvPr>
            <p:cNvSpPr/>
            <p:nvPr userDrawn="1"/>
          </p:nvSpPr>
          <p:spPr>
            <a:xfrm>
              <a:off x="8978900" y="0"/>
              <a:ext cx="3211498" cy="6870700"/>
            </a:xfrm>
            <a:custGeom>
              <a:avLst/>
              <a:gdLst>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396972 w 2223721"/>
                <a:gd name="connsiteY6" fmla="*/ 2892564 h 5581290"/>
                <a:gd name="connsiteX7" fmla="*/ 1785723 w 2223721"/>
                <a:gd name="connsiteY7" fmla="*/ 179202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91569"/>
                <a:gd name="connsiteY0" fmla="*/ 0 h 5591626"/>
                <a:gd name="connsiteX1" fmla="*/ 1876687 w 2291569"/>
                <a:gd name="connsiteY1" fmla="*/ 235104 h 5591626"/>
                <a:gd name="connsiteX2" fmla="*/ 2223721 w 2291569"/>
                <a:gd name="connsiteY2" fmla="*/ 2152290 h 5591626"/>
                <a:gd name="connsiteX3" fmla="*/ 591296 w 2291569"/>
                <a:gd name="connsiteY3" fmla="*/ 5591626 h 5591626"/>
                <a:gd name="connsiteX4" fmla="*/ 0 w 2291569"/>
                <a:gd name="connsiteY4" fmla="*/ 5564953 h 5591626"/>
                <a:gd name="connsiteX5" fmla="*/ 219199 w 2291569"/>
                <a:gd name="connsiteY5" fmla="*/ 5398245 h 5591626"/>
                <a:gd name="connsiteX6" fmla="*/ 1874724 w 2291569"/>
                <a:gd name="connsiteY6" fmla="*/ 3295657 h 5591626"/>
                <a:gd name="connsiteX7" fmla="*/ 1872587 w 2291569"/>
                <a:gd name="connsiteY7" fmla="*/ 261888 h 5591626"/>
                <a:gd name="connsiteX8" fmla="*/ 1772505 w 2291569"/>
                <a:gd name="connsiteY8" fmla="*/ 0 h 5591626"/>
                <a:gd name="connsiteX0" fmla="*/ 1772505 w 2322162"/>
                <a:gd name="connsiteY0" fmla="*/ 0 h 5591626"/>
                <a:gd name="connsiteX1" fmla="*/ 1876687 w 2322162"/>
                <a:gd name="connsiteY1" fmla="*/ 235104 h 5591626"/>
                <a:gd name="connsiteX2" fmla="*/ 2258467 w 2322162"/>
                <a:gd name="connsiteY2" fmla="*/ 2348668 h 5591626"/>
                <a:gd name="connsiteX3" fmla="*/ 591296 w 2322162"/>
                <a:gd name="connsiteY3" fmla="*/ 5591626 h 5591626"/>
                <a:gd name="connsiteX4" fmla="*/ 0 w 2322162"/>
                <a:gd name="connsiteY4" fmla="*/ 5564953 h 5591626"/>
                <a:gd name="connsiteX5" fmla="*/ 219199 w 2322162"/>
                <a:gd name="connsiteY5" fmla="*/ 5398245 h 5591626"/>
                <a:gd name="connsiteX6" fmla="*/ 1874724 w 2322162"/>
                <a:gd name="connsiteY6" fmla="*/ 3295657 h 5591626"/>
                <a:gd name="connsiteX7" fmla="*/ 1872587 w 2322162"/>
                <a:gd name="connsiteY7" fmla="*/ 261888 h 5591626"/>
                <a:gd name="connsiteX8" fmla="*/ 1772505 w 2322162"/>
                <a:gd name="connsiteY8" fmla="*/ 0 h 5591626"/>
                <a:gd name="connsiteX0" fmla="*/ 1772505 w 2196566"/>
                <a:gd name="connsiteY0" fmla="*/ 0 h 5591626"/>
                <a:gd name="connsiteX1" fmla="*/ 1876687 w 2196566"/>
                <a:gd name="connsiteY1" fmla="*/ 235104 h 5591626"/>
                <a:gd name="connsiteX2" fmla="*/ 2023934 w 2196566"/>
                <a:gd name="connsiteY2" fmla="*/ 2245311 h 5591626"/>
                <a:gd name="connsiteX3" fmla="*/ 591296 w 2196566"/>
                <a:gd name="connsiteY3" fmla="*/ 5591626 h 5591626"/>
                <a:gd name="connsiteX4" fmla="*/ 0 w 2196566"/>
                <a:gd name="connsiteY4" fmla="*/ 5564953 h 5591626"/>
                <a:gd name="connsiteX5" fmla="*/ 219199 w 2196566"/>
                <a:gd name="connsiteY5" fmla="*/ 5398245 h 5591626"/>
                <a:gd name="connsiteX6" fmla="*/ 1874724 w 2196566"/>
                <a:gd name="connsiteY6" fmla="*/ 3295657 h 5591626"/>
                <a:gd name="connsiteX7" fmla="*/ 1872587 w 2196566"/>
                <a:gd name="connsiteY7" fmla="*/ 261888 h 5591626"/>
                <a:gd name="connsiteX8" fmla="*/ 1772505 w 2196566"/>
                <a:gd name="connsiteY8" fmla="*/ 0 h 559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566" h="5591626">
                  <a:moveTo>
                    <a:pt x="1772505" y="0"/>
                  </a:moveTo>
                  <a:lnTo>
                    <a:pt x="1876687" y="235104"/>
                  </a:lnTo>
                  <a:cubicBezTo>
                    <a:pt x="2095786" y="782376"/>
                    <a:pt x="2238166" y="1352557"/>
                    <a:pt x="2023934" y="2245311"/>
                  </a:cubicBezTo>
                  <a:cubicBezTo>
                    <a:pt x="1809702" y="3138065"/>
                    <a:pt x="1713539" y="5591626"/>
                    <a:pt x="591296" y="5591626"/>
                  </a:cubicBezTo>
                  <a:lnTo>
                    <a:pt x="0" y="5564953"/>
                  </a:lnTo>
                  <a:lnTo>
                    <a:pt x="219199" y="5398245"/>
                  </a:lnTo>
                  <a:cubicBezTo>
                    <a:pt x="859438" y="5052663"/>
                    <a:pt x="1599159" y="4151717"/>
                    <a:pt x="1874724" y="3295657"/>
                  </a:cubicBezTo>
                  <a:cubicBezTo>
                    <a:pt x="2150289" y="2439598"/>
                    <a:pt x="2435456" y="2590305"/>
                    <a:pt x="1872587" y="261888"/>
                  </a:cubicBezTo>
                  <a:lnTo>
                    <a:pt x="1772505" y="0"/>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Freeform: Shape 39">
              <a:extLst>
                <a:ext uri="{FF2B5EF4-FFF2-40B4-BE49-F238E27FC236}">
                  <a16:creationId xmlns:a16="http://schemas.microsoft.com/office/drawing/2014/main" id="{359D0396-6293-4A45-955B-8C84C6B2E50D}"/>
                </a:ext>
              </a:extLst>
            </p:cNvPr>
            <p:cNvSpPr/>
            <p:nvPr userDrawn="1"/>
          </p:nvSpPr>
          <p:spPr>
            <a:xfrm>
              <a:off x="10883900" y="4455958"/>
              <a:ext cx="1128697" cy="2414742"/>
            </a:xfrm>
            <a:custGeom>
              <a:avLst/>
              <a:gdLst>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396972 w 2223721"/>
                <a:gd name="connsiteY6" fmla="*/ 2892564 h 5581290"/>
                <a:gd name="connsiteX7" fmla="*/ 1785723 w 2223721"/>
                <a:gd name="connsiteY7" fmla="*/ 179202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785723 w 2223721"/>
                <a:gd name="connsiteY7" fmla="*/ 179202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175767 w 2223721"/>
                <a:gd name="connsiteY5" fmla="*/ 5346566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23721"/>
                <a:gd name="connsiteY0" fmla="*/ 0 h 5581290"/>
                <a:gd name="connsiteX1" fmla="*/ 1876687 w 2223721"/>
                <a:gd name="connsiteY1" fmla="*/ 235104 h 5581290"/>
                <a:gd name="connsiteX2" fmla="*/ 2223721 w 2223721"/>
                <a:gd name="connsiteY2" fmla="*/ 2152290 h 5581290"/>
                <a:gd name="connsiteX3" fmla="*/ 191721 w 2223721"/>
                <a:gd name="connsiteY3" fmla="*/ 5581290 h 5581290"/>
                <a:gd name="connsiteX4" fmla="*/ 0 w 2223721"/>
                <a:gd name="connsiteY4" fmla="*/ 5564953 h 5581290"/>
                <a:gd name="connsiteX5" fmla="*/ 219199 w 2223721"/>
                <a:gd name="connsiteY5" fmla="*/ 5398245 h 5581290"/>
                <a:gd name="connsiteX6" fmla="*/ 1874724 w 2223721"/>
                <a:gd name="connsiteY6" fmla="*/ 3295657 h 5581290"/>
                <a:gd name="connsiteX7" fmla="*/ 1872587 w 2223721"/>
                <a:gd name="connsiteY7" fmla="*/ 261888 h 5581290"/>
                <a:gd name="connsiteX8" fmla="*/ 1772505 w 2223721"/>
                <a:gd name="connsiteY8" fmla="*/ 0 h 5581290"/>
                <a:gd name="connsiteX0" fmla="*/ 1772505 w 2291569"/>
                <a:gd name="connsiteY0" fmla="*/ 0 h 5591626"/>
                <a:gd name="connsiteX1" fmla="*/ 1876687 w 2291569"/>
                <a:gd name="connsiteY1" fmla="*/ 235104 h 5591626"/>
                <a:gd name="connsiteX2" fmla="*/ 2223721 w 2291569"/>
                <a:gd name="connsiteY2" fmla="*/ 2152290 h 5591626"/>
                <a:gd name="connsiteX3" fmla="*/ 591296 w 2291569"/>
                <a:gd name="connsiteY3" fmla="*/ 5591626 h 5591626"/>
                <a:gd name="connsiteX4" fmla="*/ 0 w 2291569"/>
                <a:gd name="connsiteY4" fmla="*/ 5564953 h 5591626"/>
                <a:gd name="connsiteX5" fmla="*/ 219199 w 2291569"/>
                <a:gd name="connsiteY5" fmla="*/ 5398245 h 5591626"/>
                <a:gd name="connsiteX6" fmla="*/ 1874724 w 2291569"/>
                <a:gd name="connsiteY6" fmla="*/ 3295657 h 5591626"/>
                <a:gd name="connsiteX7" fmla="*/ 1872587 w 2291569"/>
                <a:gd name="connsiteY7" fmla="*/ 261888 h 5591626"/>
                <a:gd name="connsiteX8" fmla="*/ 1772505 w 2291569"/>
                <a:gd name="connsiteY8" fmla="*/ 0 h 5591626"/>
                <a:gd name="connsiteX0" fmla="*/ 1772505 w 2322162"/>
                <a:gd name="connsiteY0" fmla="*/ 0 h 5591626"/>
                <a:gd name="connsiteX1" fmla="*/ 1876687 w 2322162"/>
                <a:gd name="connsiteY1" fmla="*/ 235104 h 5591626"/>
                <a:gd name="connsiteX2" fmla="*/ 2258467 w 2322162"/>
                <a:gd name="connsiteY2" fmla="*/ 2348668 h 5591626"/>
                <a:gd name="connsiteX3" fmla="*/ 591296 w 2322162"/>
                <a:gd name="connsiteY3" fmla="*/ 5591626 h 5591626"/>
                <a:gd name="connsiteX4" fmla="*/ 0 w 2322162"/>
                <a:gd name="connsiteY4" fmla="*/ 5564953 h 5591626"/>
                <a:gd name="connsiteX5" fmla="*/ 219199 w 2322162"/>
                <a:gd name="connsiteY5" fmla="*/ 5398245 h 5591626"/>
                <a:gd name="connsiteX6" fmla="*/ 1874724 w 2322162"/>
                <a:gd name="connsiteY6" fmla="*/ 3295657 h 5591626"/>
                <a:gd name="connsiteX7" fmla="*/ 1872587 w 2322162"/>
                <a:gd name="connsiteY7" fmla="*/ 261888 h 5591626"/>
                <a:gd name="connsiteX8" fmla="*/ 1772505 w 2322162"/>
                <a:gd name="connsiteY8" fmla="*/ 0 h 5591626"/>
                <a:gd name="connsiteX0" fmla="*/ 1772505 w 2196566"/>
                <a:gd name="connsiteY0" fmla="*/ 0 h 5591626"/>
                <a:gd name="connsiteX1" fmla="*/ 1876687 w 2196566"/>
                <a:gd name="connsiteY1" fmla="*/ 235104 h 5591626"/>
                <a:gd name="connsiteX2" fmla="*/ 2023934 w 2196566"/>
                <a:gd name="connsiteY2" fmla="*/ 2245311 h 5591626"/>
                <a:gd name="connsiteX3" fmla="*/ 591296 w 2196566"/>
                <a:gd name="connsiteY3" fmla="*/ 5591626 h 5591626"/>
                <a:gd name="connsiteX4" fmla="*/ 0 w 2196566"/>
                <a:gd name="connsiteY4" fmla="*/ 5564953 h 5591626"/>
                <a:gd name="connsiteX5" fmla="*/ 219199 w 2196566"/>
                <a:gd name="connsiteY5" fmla="*/ 5398245 h 5591626"/>
                <a:gd name="connsiteX6" fmla="*/ 1874724 w 2196566"/>
                <a:gd name="connsiteY6" fmla="*/ 3295657 h 5591626"/>
                <a:gd name="connsiteX7" fmla="*/ 1872587 w 2196566"/>
                <a:gd name="connsiteY7" fmla="*/ 261888 h 5591626"/>
                <a:gd name="connsiteX8" fmla="*/ 1772505 w 2196566"/>
                <a:gd name="connsiteY8" fmla="*/ 0 h 559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6566" h="5591626">
                  <a:moveTo>
                    <a:pt x="1772505" y="0"/>
                  </a:moveTo>
                  <a:lnTo>
                    <a:pt x="1876687" y="235104"/>
                  </a:lnTo>
                  <a:cubicBezTo>
                    <a:pt x="2095786" y="782376"/>
                    <a:pt x="2238166" y="1352557"/>
                    <a:pt x="2023934" y="2245311"/>
                  </a:cubicBezTo>
                  <a:cubicBezTo>
                    <a:pt x="1809702" y="3138065"/>
                    <a:pt x="1713539" y="5591626"/>
                    <a:pt x="591296" y="5591626"/>
                  </a:cubicBezTo>
                  <a:lnTo>
                    <a:pt x="0" y="5564953"/>
                  </a:lnTo>
                  <a:lnTo>
                    <a:pt x="219199" y="5398245"/>
                  </a:lnTo>
                  <a:cubicBezTo>
                    <a:pt x="859438" y="5052663"/>
                    <a:pt x="1599159" y="4151717"/>
                    <a:pt x="1874724" y="3295657"/>
                  </a:cubicBezTo>
                  <a:cubicBezTo>
                    <a:pt x="2150289" y="2439598"/>
                    <a:pt x="2435456" y="2590305"/>
                    <a:pt x="1872587" y="261888"/>
                  </a:cubicBezTo>
                  <a:lnTo>
                    <a:pt x="1772505" y="0"/>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4212671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669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grpSp>
        <p:nvGrpSpPr>
          <p:cNvPr id="16" name="Group 15">
            <a:extLst>
              <a:ext uri="{FF2B5EF4-FFF2-40B4-BE49-F238E27FC236}">
                <a16:creationId xmlns:a16="http://schemas.microsoft.com/office/drawing/2014/main" id="{8237D202-6112-484E-80B4-C865E570D5B3}"/>
              </a:ext>
            </a:extLst>
          </p:cNvPr>
          <p:cNvGrpSpPr/>
          <p:nvPr userDrawn="1"/>
        </p:nvGrpSpPr>
        <p:grpSpPr>
          <a:xfrm>
            <a:off x="2" y="0"/>
            <a:ext cx="9115425" cy="6858000"/>
            <a:chOff x="0" y="0"/>
            <a:chExt cx="12153900" cy="6858000"/>
          </a:xfrm>
        </p:grpSpPr>
        <p:pic>
          <p:nvPicPr>
            <p:cNvPr id="18" name="Graphic 17">
              <a:extLst>
                <a:ext uri="{FF2B5EF4-FFF2-40B4-BE49-F238E27FC236}">
                  <a16:creationId xmlns:a16="http://schemas.microsoft.com/office/drawing/2014/main" id="{94BFA740-6F5F-48F2-8A52-AA8E9BE5D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44200" y="5179212"/>
              <a:ext cx="1270000" cy="1406645"/>
            </a:xfrm>
            <a:prstGeom prst="rect">
              <a:avLst/>
            </a:prstGeom>
          </p:spPr>
        </p:pic>
        <p:sp>
          <p:nvSpPr>
            <p:cNvPr id="19" name="Rectangle 18">
              <a:extLst>
                <a:ext uri="{FF2B5EF4-FFF2-40B4-BE49-F238E27FC236}">
                  <a16:creationId xmlns:a16="http://schemas.microsoft.com/office/drawing/2014/main" id="{9EBE8541-4EEE-498E-8803-9E23A0214072}"/>
                </a:ext>
              </a:extLst>
            </p:cNvPr>
            <p:cNvSpPr>
              <a:spLocks/>
            </p:cNvSpPr>
            <p:nvPr/>
          </p:nvSpPr>
          <p:spPr>
            <a:xfrm>
              <a:off x="0" y="0"/>
              <a:ext cx="82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19">
              <a:extLst>
                <a:ext uri="{FF2B5EF4-FFF2-40B4-BE49-F238E27FC236}">
                  <a16:creationId xmlns:a16="http://schemas.microsoft.com/office/drawing/2014/main" id="{E07AC033-604D-49E7-A4AB-C258901E2F61}"/>
                </a:ext>
              </a:extLst>
            </p:cNvPr>
            <p:cNvSpPr>
              <a:spLocks/>
            </p:cNvSpPr>
            <p:nvPr/>
          </p:nvSpPr>
          <p:spPr>
            <a:xfrm>
              <a:off x="8874621" y="0"/>
              <a:ext cx="330761"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a:extLst>
                <a:ext uri="{FF2B5EF4-FFF2-40B4-BE49-F238E27FC236}">
                  <a16:creationId xmlns:a16="http://schemas.microsoft.com/office/drawing/2014/main" id="{5079C5A6-998D-4C7B-95F1-7E90BCF209D5}"/>
                </a:ext>
              </a:extLst>
            </p:cNvPr>
            <p:cNvSpPr>
              <a:spLocks/>
            </p:cNvSpPr>
            <p:nvPr/>
          </p:nvSpPr>
          <p:spPr>
            <a:xfrm>
              <a:off x="9721320" y="0"/>
              <a:ext cx="224081" cy="6858000"/>
            </a:xfrm>
            <a:prstGeom prst="rect">
              <a:avLst/>
            </a:pr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23">
              <a:extLst>
                <a:ext uri="{FF2B5EF4-FFF2-40B4-BE49-F238E27FC236}">
                  <a16:creationId xmlns:a16="http://schemas.microsoft.com/office/drawing/2014/main" id="{69BCF2F8-51BF-4BE5-B318-6D227FDC940E}"/>
                </a:ext>
              </a:extLst>
            </p:cNvPr>
            <p:cNvSpPr>
              <a:spLocks/>
            </p:cNvSpPr>
            <p:nvPr/>
          </p:nvSpPr>
          <p:spPr>
            <a:xfrm>
              <a:off x="10067801" y="0"/>
              <a:ext cx="168355"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a:extLst>
                <a:ext uri="{FF2B5EF4-FFF2-40B4-BE49-F238E27FC236}">
                  <a16:creationId xmlns:a16="http://schemas.microsoft.com/office/drawing/2014/main" id="{AE8F23E3-8A11-482F-B1FC-A2DE04C83748}"/>
                </a:ext>
              </a:extLst>
            </p:cNvPr>
            <p:cNvSpPr>
              <a:spLocks/>
            </p:cNvSpPr>
            <p:nvPr/>
          </p:nvSpPr>
          <p:spPr>
            <a:xfrm>
              <a:off x="10358556" y="0"/>
              <a:ext cx="126487"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a:extLst>
                <a:ext uri="{FF2B5EF4-FFF2-40B4-BE49-F238E27FC236}">
                  <a16:creationId xmlns:a16="http://schemas.microsoft.com/office/drawing/2014/main" id="{B1611D5C-0AD5-4912-A4BD-1EAE6AF214AD}"/>
                </a:ext>
              </a:extLst>
            </p:cNvPr>
            <p:cNvSpPr>
              <a:spLocks/>
            </p:cNvSpPr>
            <p:nvPr/>
          </p:nvSpPr>
          <p:spPr>
            <a:xfrm>
              <a:off x="10607443" y="0"/>
              <a:ext cx="11498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a:extLst>
                <a:ext uri="{FF2B5EF4-FFF2-40B4-BE49-F238E27FC236}">
                  <a16:creationId xmlns:a16="http://schemas.microsoft.com/office/drawing/2014/main" id="{82AD52C2-503D-4AC2-9E7B-319FD5526905}"/>
                </a:ext>
              </a:extLst>
            </p:cNvPr>
            <p:cNvSpPr>
              <a:spLocks/>
            </p:cNvSpPr>
            <p:nvPr/>
          </p:nvSpPr>
          <p:spPr>
            <a:xfrm>
              <a:off x="8352000" y="0"/>
              <a:ext cx="400221"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Rectangle 27">
              <a:extLst>
                <a:ext uri="{FF2B5EF4-FFF2-40B4-BE49-F238E27FC236}">
                  <a16:creationId xmlns:a16="http://schemas.microsoft.com/office/drawing/2014/main" id="{1DBAE6A1-B209-4DB1-90D7-FD6F885AB28F}"/>
                </a:ext>
              </a:extLst>
            </p:cNvPr>
            <p:cNvSpPr>
              <a:spLocks/>
            </p:cNvSpPr>
            <p:nvPr/>
          </p:nvSpPr>
          <p:spPr>
            <a:xfrm>
              <a:off x="9327782" y="0"/>
              <a:ext cx="271138"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a:extLst>
                <a:ext uri="{FF2B5EF4-FFF2-40B4-BE49-F238E27FC236}">
                  <a16:creationId xmlns:a16="http://schemas.microsoft.com/office/drawing/2014/main" id="{86B2E80C-B4F2-4768-B8B1-C123D001A5AB}"/>
                </a:ext>
              </a:extLst>
            </p:cNvPr>
            <p:cNvSpPr>
              <a:spLocks/>
            </p:cNvSpPr>
            <p:nvPr/>
          </p:nvSpPr>
          <p:spPr>
            <a:xfrm>
              <a:off x="10844831" y="0"/>
              <a:ext cx="86393"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29">
              <a:extLst>
                <a:ext uri="{FF2B5EF4-FFF2-40B4-BE49-F238E27FC236}">
                  <a16:creationId xmlns:a16="http://schemas.microsoft.com/office/drawing/2014/main" id="{0AB9C8BD-3FD7-444B-B0C6-F3537BA7908D}"/>
                </a:ext>
              </a:extLst>
            </p:cNvPr>
            <p:cNvSpPr>
              <a:spLocks/>
            </p:cNvSpPr>
            <p:nvPr/>
          </p:nvSpPr>
          <p:spPr>
            <a:xfrm>
              <a:off x="11053624" y="0"/>
              <a:ext cx="6490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a:extLst>
                <a:ext uri="{FF2B5EF4-FFF2-40B4-BE49-F238E27FC236}">
                  <a16:creationId xmlns:a16="http://schemas.microsoft.com/office/drawing/2014/main" id="{C3B4E941-9D22-4676-9CF3-67E59B38FDB6}"/>
                </a:ext>
              </a:extLst>
            </p:cNvPr>
            <p:cNvSpPr>
              <a:spLocks/>
            </p:cNvSpPr>
            <p:nvPr/>
          </p:nvSpPr>
          <p:spPr>
            <a:xfrm>
              <a:off x="11240932" y="0"/>
              <a:ext cx="4876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Rectangle 31">
              <a:extLst>
                <a:ext uri="{FF2B5EF4-FFF2-40B4-BE49-F238E27FC236}">
                  <a16:creationId xmlns:a16="http://schemas.microsoft.com/office/drawing/2014/main" id="{703B1508-5605-422D-9DAA-EFA59CE123AC}"/>
                </a:ext>
              </a:extLst>
            </p:cNvPr>
            <p:cNvSpPr>
              <a:spLocks/>
            </p:cNvSpPr>
            <p:nvPr/>
          </p:nvSpPr>
          <p:spPr>
            <a:xfrm>
              <a:off x="11412098" y="0"/>
              <a:ext cx="3330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2">
              <a:extLst>
                <a:ext uri="{FF2B5EF4-FFF2-40B4-BE49-F238E27FC236}">
                  <a16:creationId xmlns:a16="http://schemas.microsoft.com/office/drawing/2014/main" id="{C15CB252-58B5-4753-9145-AC537A9FC19A}"/>
                </a:ext>
              </a:extLst>
            </p:cNvPr>
            <p:cNvSpPr/>
            <p:nvPr/>
          </p:nvSpPr>
          <p:spPr>
            <a:xfrm>
              <a:off x="1156780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Rectangle 34">
              <a:extLst>
                <a:ext uri="{FF2B5EF4-FFF2-40B4-BE49-F238E27FC236}">
                  <a16:creationId xmlns:a16="http://schemas.microsoft.com/office/drawing/2014/main" id="{E4268512-FAB4-4D05-BBBA-D72A064C9F9A}"/>
                </a:ext>
              </a:extLst>
            </p:cNvPr>
            <p:cNvSpPr/>
            <p:nvPr/>
          </p:nvSpPr>
          <p:spPr>
            <a:xfrm>
              <a:off x="1171295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36">
              <a:extLst>
                <a:ext uri="{FF2B5EF4-FFF2-40B4-BE49-F238E27FC236}">
                  <a16:creationId xmlns:a16="http://schemas.microsoft.com/office/drawing/2014/main" id="{784A14D9-0AE3-4644-B151-598DB1E3A784}"/>
                </a:ext>
              </a:extLst>
            </p:cNvPr>
            <p:cNvSpPr/>
            <p:nvPr/>
          </p:nvSpPr>
          <p:spPr>
            <a:xfrm>
              <a:off x="1185810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Rectangle 37">
              <a:extLst>
                <a:ext uri="{FF2B5EF4-FFF2-40B4-BE49-F238E27FC236}">
                  <a16:creationId xmlns:a16="http://schemas.microsoft.com/office/drawing/2014/main" id="{852CE8E9-D99B-45CB-876B-DEB99B8DC402}"/>
                </a:ext>
              </a:extLst>
            </p:cNvPr>
            <p:cNvSpPr/>
            <p:nvPr/>
          </p:nvSpPr>
          <p:spPr>
            <a:xfrm>
              <a:off x="12003256" y="0"/>
              <a:ext cx="1412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2" name="Rectangle 41">
              <a:extLst>
                <a:ext uri="{FF2B5EF4-FFF2-40B4-BE49-F238E27FC236}">
                  <a16:creationId xmlns:a16="http://schemas.microsoft.com/office/drawing/2014/main" id="{17CAA97A-F568-48BE-9BC1-5FCDD5D5977B}"/>
                </a:ext>
              </a:extLst>
            </p:cNvPr>
            <p:cNvSpPr/>
            <p:nvPr/>
          </p:nvSpPr>
          <p:spPr>
            <a:xfrm>
              <a:off x="12139774" y="0"/>
              <a:ext cx="1412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43" name="Group 42">
            <a:extLst>
              <a:ext uri="{FF2B5EF4-FFF2-40B4-BE49-F238E27FC236}">
                <a16:creationId xmlns:a16="http://schemas.microsoft.com/office/drawing/2014/main" id="{E7F5D0E9-A1DF-4289-8732-673358F1AF5E}"/>
              </a:ext>
            </a:extLst>
          </p:cNvPr>
          <p:cNvGrpSpPr/>
          <p:nvPr userDrawn="1"/>
        </p:nvGrpSpPr>
        <p:grpSpPr>
          <a:xfrm>
            <a:off x="0" y="1891472"/>
            <a:ext cx="6205924" cy="808102"/>
            <a:chOff x="-200025" y="1891472"/>
            <a:chExt cx="8274565" cy="808102"/>
          </a:xfrm>
        </p:grpSpPr>
        <p:pic>
          <p:nvPicPr>
            <p:cNvPr id="44" name="Picture 10" descr="Image result for heart beat line PNG">
              <a:extLst>
                <a:ext uri="{FF2B5EF4-FFF2-40B4-BE49-F238E27FC236}">
                  <a16:creationId xmlns:a16="http://schemas.microsoft.com/office/drawing/2014/main" id="{129C6DA5-452C-4FF8-8A2B-8D17DB59626F}"/>
                </a:ext>
              </a:extLst>
            </p:cNvPr>
            <p:cNvPicPr>
              <a:picLocks noChangeAspect="1" noChangeArrowheads="1"/>
            </p:cNvPicPr>
            <p:nvPr/>
          </p:nvPicPr>
          <p:blipFill rotWithShape="1">
            <a:blip r:embed="rId9">
              <a:duotone>
                <a:prstClr val="black"/>
                <a:schemeClr val="bg1">
                  <a:tint val="45000"/>
                  <a:satMod val="400000"/>
                </a:schemeClr>
              </a:duotone>
              <a:extLst>
                <a:ext uri="{BEBA8EAE-BF5A-486C-A8C5-ECC9F3942E4B}">
                  <a14:imgProps xmlns:a14="http://schemas.microsoft.com/office/drawing/2010/main">
                    <a14:imgLayer r:embed="rId10">
                      <a14:imgEffect>
                        <a14:sharpenSoften amount="-3000"/>
                      </a14:imgEffect>
                      <a14:imgEffect>
                        <a14:brightnessContrast bright="100000"/>
                      </a14:imgEffect>
                    </a14:imgLayer>
                  </a14:imgProps>
                </a:ext>
                <a:ext uri="{28A0092B-C50C-407E-A947-70E740481C1C}">
                  <a14:useLocalDpi xmlns:a14="http://schemas.microsoft.com/office/drawing/2010/main" val="0"/>
                </a:ext>
              </a:extLst>
            </a:blip>
            <a:srcRect l="10634" t="25221" r="5873" b="17467"/>
            <a:stretch/>
          </p:blipFill>
          <p:spPr bwMode="auto">
            <a:xfrm>
              <a:off x="6091400" y="1891472"/>
              <a:ext cx="1983140" cy="808102"/>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a:extLst>
                <a:ext uri="{FF2B5EF4-FFF2-40B4-BE49-F238E27FC236}">
                  <a16:creationId xmlns:a16="http://schemas.microsoft.com/office/drawing/2014/main" id="{EBB09186-9BC6-4C91-A676-EBF3C3572AB2}"/>
                </a:ext>
              </a:extLst>
            </p:cNvPr>
            <p:cNvCxnSpPr>
              <a:cxnSpLocks/>
            </p:cNvCxnSpPr>
            <p:nvPr/>
          </p:nvCxnSpPr>
          <p:spPr>
            <a:xfrm>
              <a:off x="-200025" y="2282181"/>
              <a:ext cx="65532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83357" y="2798363"/>
            <a:ext cx="4895850"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83357" y="3991830"/>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183357" y="512989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61927" y="970417"/>
            <a:ext cx="4731543"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grpSp>
        <p:nvGrpSpPr>
          <p:cNvPr id="46" name="Group 45">
            <a:extLst>
              <a:ext uri="{FF2B5EF4-FFF2-40B4-BE49-F238E27FC236}">
                <a16:creationId xmlns:a16="http://schemas.microsoft.com/office/drawing/2014/main" id="{90ECDED8-AD58-475F-8A4E-D59DCAF7412F}"/>
              </a:ext>
            </a:extLst>
          </p:cNvPr>
          <p:cNvGrpSpPr/>
          <p:nvPr userDrawn="1"/>
        </p:nvGrpSpPr>
        <p:grpSpPr>
          <a:xfrm>
            <a:off x="4580962" y="5933797"/>
            <a:ext cx="1470929" cy="743352"/>
            <a:chOff x="227847" y="5413829"/>
            <a:chExt cx="3824211" cy="1449458"/>
          </a:xfrm>
        </p:grpSpPr>
        <p:sp>
          <p:nvSpPr>
            <p:cNvPr id="47" name="Rectangle 46">
              <a:extLst>
                <a:ext uri="{FF2B5EF4-FFF2-40B4-BE49-F238E27FC236}">
                  <a16:creationId xmlns:a16="http://schemas.microsoft.com/office/drawing/2014/main" id="{E250229A-E937-447C-AE0D-DCCFB93DAFC4}"/>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48" name="Graphic 47">
              <a:extLst>
                <a:ext uri="{FF2B5EF4-FFF2-40B4-BE49-F238E27FC236}">
                  <a16:creationId xmlns:a16="http://schemas.microsoft.com/office/drawing/2014/main" id="{25DFD396-4CCD-40D0-84C6-8AE1A85CC7A3}"/>
                </a:ext>
              </a:extLst>
            </p:cNvPr>
            <p:cNvPicPr>
              <a:picLocks noChangeAspect="1"/>
            </p:cNvPicPr>
            <p:nvPr userDrawn="1"/>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95219" r="79181" b="-606"/>
            <a:stretch/>
          </p:blipFill>
          <p:spPr>
            <a:xfrm>
              <a:off x="620896" y="5608210"/>
              <a:ext cx="3038114" cy="1113312"/>
            </a:xfrm>
            <a:prstGeom prst="rect">
              <a:avLst/>
            </a:prstGeom>
          </p:spPr>
        </p:pic>
      </p:grpSp>
    </p:spTree>
    <p:extLst>
      <p:ext uri="{BB962C8B-B14F-4D97-AF65-F5344CB8AC3E}">
        <p14:creationId xmlns:p14="http://schemas.microsoft.com/office/powerpoint/2010/main" val="3823557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BDD101-BE95-4010-83B6-F0DF344BA710}"/>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7718"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6BDD101-BE95-4010-83B6-F0DF344BA710}"/>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3EFE0525-6890-4C0D-8EFF-722BBC1BEC8D}"/>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47" name="Freeform: Shape 46">
            <a:extLst>
              <a:ext uri="{FF2B5EF4-FFF2-40B4-BE49-F238E27FC236}">
                <a16:creationId xmlns:a16="http://schemas.microsoft.com/office/drawing/2014/main" id="{BB09CD9A-A1F9-4AD7-BB75-8412F294D0A2}"/>
              </a:ext>
            </a:extLst>
          </p:cNvPr>
          <p:cNvSpPr/>
          <p:nvPr userDrawn="1"/>
        </p:nvSpPr>
        <p:spPr>
          <a:xfrm>
            <a:off x="2" y="323850"/>
            <a:ext cx="5972175" cy="1363264"/>
          </a:xfrm>
          <a:custGeom>
            <a:avLst/>
            <a:gdLst>
              <a:gd name="connsiteX0" fmla="*/ 0 w 7554877"/>
              <a:gd name="connsiteY0" fmla="*/ 0 h 1363264"/>
              <a:gd name="connsiteX1" fmla="*/ 7554877 w 7554877"/>
              <a:gd name="connsiteY1" fmla="*/ 0 h 1363264"/>
              <a:gd name="connsiteX2" fmla="*/ 7134305 w 7554877"/>
              <a:gd name="connsiteY2" fmla="*/ 1363264 h 1363264"/>
              <a:gd name="connsiteX3" fmla="*/ 0 w 7554877"/>
              <a:gd name="connsiteY3" fmla="*/ 1363264 h 1363264"/>
            </a:gdLst>
            <a:ahLst/>
            <a:cxnLst>
              <a:cxn ang="0">
                <a:pos x="connsiteX0" y="connsiteY0"/>
              </a:cxn>
              <a:cxn ang="0">
                <a:pos x="connsiteX1" y="connsiteY1"/>
              </a:cxn>
              <a:cxn ang="0">
                <a:pos x="connsiteX2" y="connsiteY2"/>
              </a:cxn>
              <a:cxn ang="0">
                <a:pos x="connsiteX3" y="connsiteY3"/>
              </a:cxn>
            </a:cxnLst>
            <a:rect l="l" t="t" r="r" b="b"/>
            <a:pathLst>
              <a:path w="7554877" h="1363264">
                <a:moveTo>
                  <a:pt x="0" y="0"/>
                </a:moveTo>
                <a:lnTo>
                  <a:pt x="7554877" y="0"/>
                </a:lnTo>
                <a:lnTo>
                  <a:pt x="7134305" y="1363264"/>
                </a:lnTo>
                <a:lnTo>
                  <a:pt x="0" y="136326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9" name="Group 28">
            <a:extLst>
              <a:ext uri="{FF2B5EF4-FFF2-40B4-BE49-F238E27FC236}">
                <a16:creationId xmlns:a16="http://schemas.microsoft.com/office/drawing/2014/main" id="{772607F1-F033-48EA-B095-6DDC4798F51D}"/>
              </a:ext>
            </a:extLst>
          </p:cNvPr>
          <p:cNvGrpSpPr/>
          <p:nvPr userDrawn="1"/>
        </p:nvGrpSpPr>
        <p:grpSpPr>
          <a:xfrm>
            <a:off x="-22377" y="443768"/>
            <a:ext cx="9092132" cy="7536525"/>
            <a:chOff x="-29835" y="443763"/>
            <a:chExt cx="12122842" cy="7536525"/>
          </a:xfrm>
        </p:grpSpPr>
        <p:sp>
          <p:nvSpPr>
            <p:cNvPr id="30" name="Freeform: Shape 29">
              <a:extLst>
                <a:ext uri="{FF2B5EF4-FFF2-40B4-BE49-F238E27FC236}">
                  <a16:creationId xmlns:a16="http://schemas.microsoft.com/office/drawing/2014/main" id="{62C5E091-506D-47BB-B42A-DEECAEBA3DB2}"/>
                </a:ext>
              </a:extLst>
            </p:cNvPr>
            <p:cNvSpPr/>
            <p:nvPr/>
          </p:nvSpPr>
          <p:spPr>
            <a:xfrm rot="20667996" flipH="1">
              <a:off x="6305232" y="1250621"/>
              <a:ext cx="5787775" cy="6319471"/>
            </a:xfrm>
            <a:custGeom>
              <a:avLst/>
              <a:gdLst>
                <a:gd name="connsiteX0" fmla="*/ 2575063 w 5787775"/>
                <a:gd name="connsiteY0" fmla="*/ 0 h 6319471"/>
                <a:gd name="connsiteX1" fmla="*/ 0 w 5787775"/>
                <a:gd name="connsiteY1" fmla="*/ 3924097 h 6319471"/>
                <a:gd name="connsiteX2" fmla="*/ 665800 w 5787775"/>
                <a:gd name="connsiteY2" fmla="*/ 6319471 h 6319471"/>
                <a:gd name="connsiteX3" fmla="*/ 5787775 w 5787775"/>
                <a:gd name="connsiteY3" fmla="*/ 4895806 h 6319471"/>
              </a:gdLst>
              <a:ahLst/>
              <a:cxnLst>
                <a:cxn ang="0">
                  <a:pos x="connsiteX0" y="connsiteY0"/>
                </a:cxn>
                <a:cxn ang="0">
                  <a:pos x="connsiteX1" y="connsiteY1"/>
                </a:cxn>
                <a:cxn ang="0">
                  <a:pos x="connsiteX2" y="connsiteY2"/>
                </a:cxn>
                <a:cxn ang="0">
                  <a:pos x="connsiteX3" y="connsiteY3"/>
                </a:cxn>
              </a:cxnLst>
              <a:rect l="l" t="t" r="r" b="b"/>
              <a:pathLst>
                <a:path w="5787775" h="6319471">
                  <a:moveTo>
                    <a:pt x="2575063" y="0"/>
                  </a:moveTo>
                  <a:lnTo>
                    <a:pt x="0" y="3924097"/>
                  </a:lnTo>
                  <a:lnTo>
                    <a:pt x="665800" y="6319471"/>
                  </a:lnTo>
                  <a:lnTo>
                    <a:pt x="5787775" y="489580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Freeform: Shape 30">
              <a:extLst>
                <a:ext uri="{FF2B5EF4-FFF2-40B4-BE49-F238E27FC236}">
                  <a16:creationId xmlns:a16="http://schemas.microsoft.com/office/drawing/2014/main" id="{8438C5E2-E87B-4846-975F-DF73399C4C54}"/>
                </a:ext>
              </a:extLst>
            </p:cNvPr>
            <p:cNvSpPr/>
            <p:nvPr/>
          </p:nvSpPr>
          <p:spPr>
            <a:xfrm rot="19752471" flipH="1">
              <a:off x="10239263" y="443763"/>
              <a:ext cx="1456381" cy="6602260"/>
            </a:xfrm>
            <a:custGeom>
              <a:avLst/>
              <a:gdLst>
                <a:gd name="connsiteX0" fmla="*/ 1456381 w 1456381"/>
                <a:gd name="connsiteY0" fmla="*/ 0 h 6602260"/>
                <a:gd name="connsiteX1" fmla="*/ 0 w 1456381"/>
                <a:gd name="connsiteY1" fmla="*/ 4471240 h 6602260"/>
                <a:gd name="connsiteX2" fmla="*/ 1269946 w 1456381"/>
                <a:gd name="connsiteY2" fmla="*/ 6602260 h 6602260"/>
                <a:gd name="connsiteX3" fmla="*/ 1456381 w 1456381"/>
                <a:gd name="connsiteY3" fmla="*/ 6491157 h 6602260"/>
              </a:gdLst>
              <a:ahLst/>
              <a:cxnLst>
                <a:cxn ang="0">
                  <a:pos x="connsiteX0" y="connsiteY0"/>
                </a:cxn>
                <a:cxn ang="0">
                  <a:pos x="connsiteX1" y="connsiteY1"/>
                </a:cxn>
                <a:cxn ang="0">
                  <a:pos x="connsiteX2" y="connsiteY2"/>
                </a:cxn>
                <a:cxn ang="0">
                  <a:pos x="connsiteX3" y="connsiteY3"/>
                </a:cxn>
              </a:cxnLst>
              <a:rect l="l" t="t" r="r" b="b"/>
              <a:pathLst>
                <a:path w="1456381" h="6602260">
                  <a:moveTo>
                    <a:pt x="1456381" y="0"/>
                  </a:moveTo>
                  <a:lnTo>
                    <a:pt x="0" y="4471240"/>
                  </a:lnTo>
                  <a:lnTo>
                    <a:pt x="1269946" y="6602260"/>
                  </a:lnTo>
                  <a:lnTo>
                    <a:pt x="1456381" y="6491157"/>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Freeform: Shape 31">
              <a:extLst>
                <a:ext uri="{FF2B5EF4-FFF2-40B4-BE49-F238E27FC236}">
                  <a16:creationId xmlns:a16="http://schemas.microsoft.com/office/drawing/2014/main" id="{BBDCB51D-D676-4B50-A1C4-94CF8FAA0B61}"/>
                </a:ext>
              </a:extLst>
            </p:cNvPr>
            <p:cNvSpPr/>
            <p:nvPr/>
          </p:nvSpPr>
          <p:spPr>
            <a:xfrm rot="21005245" flipH="1">
              <a:off x="3170426" y="2682531"/>
              <a:ext cx="5516486" cy="4685260"/>
            </a:xfrm>
            <a:custGeom>
              <a:avLst/>
              <a:gdLst>
                <a:gd name="connsiteX0" fmla="*/ 3074550 w 5516486"/>
                <a:gd name="connsiteY0" fmla="*/ 0 h 4685260"/>
                <a:gd name="connsiteX1" fmla="*/ 0 w 5516486"/>
                <a:gd name="connsiteY1" fmla="*/ 4685260 h 4685260"/>
                <a:gd name="connsiteX2" fmla="*/ 5516486 w 5516486"/>
                <a:gd name="connsiteY2" fmla="*/ 3721231 h 4685260"/>
              </a:gdLst>
              <a:ahLst/>
              <a:cxnLst>
                <a:cxn ang="0">
                  <a:pos x="connsiteX0" y="connsiteY0"/>
                </a:cxn>
                <a:cxn ang="0">
                  <a:pos x="connsiteX1" y="connsiteY1"/>
                </a:cxn>
                <a:cxn ang="0">
                  <a:pos x="connsiteX2" y="connsiteY2"/>
                </a:cxn>
              </a:cxnLst>
              <a:rect l="l" t="t" r="r" b="b"/>
              <a:pathLst>
                <a:path w="5516486" h="4685260">
                  <a:moveTo>
                    <a:pt x="3074550" y="0"/>
                  </a:moveTo>
                  <a:lnTo>
                    <a:pt x="0" y="4685260"/>
                  </a:lnTo>
                  <a:lnTo>
                    <a:pt x="5516486" y="3721231"/>
                  </a:lnTo>
                  <a:close/>
                </a:path>
              </a:pathLst>
            </a:custGeom>
            <a:solidFill>
              <a:schemeClr val="accent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Freeform: Shape 32">
              <a:extLst>
                <a:ext uri="{FF2B5EF4-FFF2-40B4-BE49-F238E27FC236}">
                  <a16:creationId xmlns:a16="http://schemas.microsoft.com/office/drawing/2014/main" id="{73F1E937-5EAC-4B4F-B808-355702642731}"/>
                </a:ext>
              </a:extLst>
            </p:cNvPr>
            <p:cNvSpPr/>
            <p:nvPr/>
          </p:nvSpPr>
          <p:spPr>
            <a:xfrm rot="20089720" flipH="1">
              <a:off x="6257683" y="2167884"/>
              <a:ext cx="1728922" cy="5309909"/>
            </a:xfrm>
            <a:custGeom>
              <a:avLst/>
              <a:gdLst>
                <a:gd name="connsiteX0" fmla="*/ 1728922 w 1728922"/>
                <a:gd name="connsiteY0" fmla="*/ 0 h 5309909"/>
                <a:gd name="connsiteX1" fmla="*/ 0 w 1728922"/>
                <a:gd name="connsiteY1" fmla="*/ 5309909 h 5309909"/>
                <a:gd name="connsiteX2" fmla="*/ 1728922 w 1728922"/>
                <a:gd name="connsiteY2" fmla="*/ 4497396 h 5309909"/>
              </a:gdLst>
              <a:ahLst/>
              <a:cxnLst>
                <a:cxn ang="0">
                  <a:pos x="connsiteX0" y="connsiteY0"/>
                </a:cxn>
                <a:cxn ang="0">
                  <a:pos x="connsiteX1" y="connsiteY1"/>
                </a:cxn>
                <a:cxn ang="0">
                  <a:pos x="connsiteX2" y="connsiteY2"/>
                </a:cxn>
              </a:cxnLst>
              <a:rect l="l" t="t" r="r" b="b"/>
              <a:pathLst>
                <a:path w="1728922" h="5309909">
                  <a:moveTo>
                    <a:pt x="1728922" y="0"/>
                  </a:moveTo>
                  <a:lnTo>
                    <a:pt x="0" y="5309909"/>
                  </a:lnTo>
                  <a:lnTo>
                    <a:pt x="1728922" y="4497396"/>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Freeform: Shape 33">
              <a:extLst>
                <a:ext uri="{FF2B5EF4-FFF2-40B4-BE49-F238E27FC236}">
                  <a16:creationId xmlns:a16="http://schemas.microsoft.com/office/drawing/2014/main" id="{FDAF8C2C-9AB4-4EC5-A72D-675081A9F45F}"/>
                </a:ext>
              </a:extLst>
            </p:cNvPr>
            <p:cNvSpPr/>
            <p:nvPr/>
          </p:nvSpPr>
          <p:spPr>
            <a:xfrm rot="2489921" flipH="1">
              <a:off x="-29835" y="1788342"/>
              <a:ext cx="4942656" cy="6191946"/>
            </a:xfrm>
            <a:custGeom>
              <a:avLst/>
              <a:gdLst>
                <a:gd name="connsiteX0" fmla="*/ 2326176 w 4942656"/>
                <a:gd name="connsiteY0" fmla="*/ 0 h 6191946"/>
                <a:gd name="connsiteX1" fmla="*/ 0 w 4942656"/>
                <a:gd name="connsiteY1" fmla="*/ 3544824 h 6191946"/>
                <a:gd name="connsiteX2" fmla="*/ 2992166 w 4942656"/>
                <a:gd name="connsiteY2" fmla="*/ 6191946 h 6191946"/>
                <a:gd name="connsiteX3" fmla="*/ 4942656 w 4942656"/>
                <a:gd name="connsiteY3" fmla="*/ 3987216 h 6191946"/>
              </a:gdLst>
              <a:ahLst/>
              <a:cxnLst>
                <a:cxn ang="0">
                  <a:pos x="connsiteX0" y="connsiteY0"/>
                </a:cxn>
                <a:cxn ang="0">
                  <a:pos x="connsiteX1" y="connsiteY1"/>
                </a:cxn>
                <a:cxn ang="0">
                  <a:pos x="connsiteX2" y="connsiteY2"/>
                </a:cxn>
                <a:cxn ang="0">
                  <a:pos x="connsiteX3" y="connsiteY3"/>
                </a:cxn>
              </a:cxnLst>
              <a:rect l="l" t="t" r="r" b="b"/>
              <a:pathLst>
                <a:path w="4942656" h="6191946">
                  <a:moveTo>
                    <a:pt x="2326176" y="0"/>
                  </a:moveTo>
                  <a:lnTo>
                    <a:pt x="0" y="3544824"/>
                  </a:lnTo>
                  <a:lnTo>
                    <a:pt x="2992166" y="6191946"/>
                  </a:lnTo>
                  <a:lnTo>
                    <a:pt x="4942656" y="398721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Freeform: Shape 34">
              <a:extLst>
                <a:ext uri="{FF2B5EF4-FFF2-40B4-BE49-F238E27FC236}">
                  <a16:creationId xmlns:a16="http://schemas.microsoft.com/office/drawing/2014/main" id="{8BFED708-A2F9-4825-A975-CD68696C274B}"/>
                </a:ext>
              </a:extLst>
            </p:cNvPr>
            <p:cNvSpPr/>
            <p:nvPr/>
          </p:nvSpPr>
          <p:spPr>
            <a:xfrm rot="1574396" flipH="1">
              <a:off x="3493238" y="2705014"/>
              <a:ext cx="1321747" cy="4686659"/>
            </a:xfrm>
            <a:custGeom>
              <a:avLst/>
              <a:gdLst>
                <a:gd name="connsiteX0" fmla="*/ 1321747 w 1321747"/>
                <a:gd name="connsiteY0" fmla="*/ 0 h 4686659"/>
                <a:gd name="connsiteX1" fmla="*/ 0 w 1321747"/>
                <a:gd name="connsiteY1" fmla="*/ 4035134 h 4686659"/>
                <a:gd name="connsiteX2" fmla="*/ 1321747 w 1321747"/>
                <a:gd name="connsiteY2" fmla="*/ 4686659 h 4686659"/>
              </a:gdLst>
              <a:ahLst/>
              <a:cxnLst>
                <a:cxn ang="0">
                  <a:pos x="connsiteX0" y="connsiteY0"/>
                </a:cxn>
                <a:cxn ang="0">
                  <a:pos x="connsiteX1" y="connsiteY1"/>
                </a:cxn>
                <a:cxn ang="0">
                  <a:pos x="connsiteX2" y="connsiteY2"/>
                </a:cxn>
              </a:cxnLst>
              <a:rect l="l" t="t" r="r" b="b"/>
              <a:pathLst>
                <a:path w="1321747" h="4686659">
                  <a:moveTo>
                    <a:pt x="1321747" y="0"/>
                  </a:moveTo>
                  <a:lnTo>
                    <a:pt x="0" y="4035134"/>
                  </a:lnTo>
                  <a:lnTo>
                    <a:pt x="1321747" y="468665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36" name="Group 35">
            <a:extLst>
              <a:ext uri="{FF2B5EF4-FFF2-40B4-BE49-F238E27FC236}">
                <a16:creationId xmlns:a16="http://schemas.microsoft.com/office/drawing/2014/main" id="{32606B04-04FE-485C-BCF3-6441D4A136D5}"/>
              </a:ext>
            </a:extLst>
          </p:cNvPr>
          <p:cNvGrpSpPr/>
          <p:nvPr userDrawn="1"/>
        </p:nvGrpSpPr>
        <p:grpSpPr>
          <a:xfrm>
            <a:off x="6686552" y="85447"/>
            <a:ext cx="2428875" cy="1227462"/>
            <a:chOff x="227847" y="5413829"/>
            <a:chExt cx="3824211" cy="1449458"/>
          </a:xfrm>
        </p:grpSpPr>
        <p:sp>
          <p:nvSpPr>
            <p:cNvPr id="37" name="Rectangle 36">
              <a:extLst>
                <a:ext uri="{FF2B5EF4-FFF2-40B4-BE49-F238E27FC236}">
                  <a16:creationId xmlns:a16="http://schemas.microsoft.com/office/drawing/2014/main" id="{AA8374EA-2E70-4BC5-A463-E61BEF0E4CBF}"/>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8" name="Graphic 37">
              <a:extLst>
                <a:ext uri="{FF2B5EF4-FFF2-40B4-BE49-F238E27FC236}">
                  <a16:creationId xmlns:a16="http://schemas.microsoft.com/office/drawing/2014/main" id="{DDC22BA5-4742-45CA-BF5A-52BC1DD8474C}"/>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9" name="Subtitle 2">
            <a:extLst>
              <a:ext uri="{FF2B5EF4-FFF2-40B4-BE49-F238E27FC236}">
                <a16:creationId xmlns:a16="http://schemas.microsoft.com/office/drawing/2014/main" id="{E3412BC2-65D5-4ADF-BED3-BE9B28B96FB8}"/>
              </a:ext>
            </a:extLst>
          </p:cNvPr>
          <p:cNvSpPr>
            <a:spLocks noGrp="1"/>
          </p:cNvSpPr>
          <p:nvPr>
            <p:ph type="subTitle" idx="1"/>
          </p:nvPr>
        </p:nvSpPr>
        <p:spPr>
          <a:xfrm>
            <a:off x="183358" y="2055413"/>
            <a:ext cx="5024438"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tx1"/>
                </a:solidFill>
              </a:defRPr>
            </a:lvl1pPr>
          </a:lstStyle>
          <a:p>
            <a:pPr marL="0" lvl="0" indent="0">
              <a:spcBef>
                <a:spcPts val="0"/>
              </a:spcBef>
              <a:buNone/>
            </a:pPr>
            <a:r>
              <a:rPr lang="en-US"/>
              <a:t>Click to edit Master subtitle style</a:t>
            </a:r>
            <a:endParaRPr lang="en-US" dirty="0"/>
          </a:p>
        </p:txBody>
      </p:sp>
      <p:sp>
        <p:nvSpPr>
          <p:cNvPr id="40" name="Text Placeholder 20">
            <a:extLst>
              <a:ext uri="{FF2B5EF4-FFF2-40B4-BE49-F238E27FC236}">
                <a16:creationId xmlns:a16="http://schemas.microsoft.com/office/drawing/2014/main" id="{B332E9D7-B7B7-4D0E-8961-707E1AC0DEBC}"/>
              </a:ext>
            </a:extLst>
          </p:cNvPr>
          <p:cNvSpPr>
            <a:spLocks noGrp="1"/>
          </p:cNvSpPr>
          <p:nvPr>
            <p:ph type="body" sz="quarter" idx="13" hasCustomPrompt="1"/>
          </p:nvPr>
        </p:nvSpPr>
        <p:spPr>
          <a:xfrm>
            <a:off x="183357" y="4868131"/>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41" name="Text Placeholder 20">
            <a:extLst>
              <a:ext uri="{FF2B5EF4-FFF2-40B4-BE49-F238E27FC236}">
                <a16:creationId xmlns:a16="http://schemas.microsoft.com/office/drawing/2014/main" id="{3CC2CF07-F2CC-4C74-9957-7C735E00427D}"/>
              </a:ext>
            </a:extLst>
          </p:cNvPr>
          <p:cNvSpPr>
            <a:spLocks noGrp="1"/>
          </p:cNvSpPr>
          <p:nvPr>
            <p:ph type="body" sz="quarter" idx="14" hasCustomPrompt="1"/>
          </p:nvPr>
        </p:nvSpPr>
        <p:spPr>
          <a:xfrm>
            <a:off x="183357" y="575854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42" name="Title 1">
            <a:extLst>
              <a:ext uri="{FF2B5EF4-FFF2-40B4-BE49-F238E27FC236}">
                <a16:creationId xmlns:a16="http://schemas.microsoft.com/office/drawing/2014/main" id="{0765D408-8E62-48D0-A66A-8FC20AA57F71}"/>
              </a:ext>
            </a:extLst>
          </p:cNvPr>
          <p:cNvSpPr>
            <a:spLocks noGrp="1"/>
          </p:cNvSpPr>
          <p:nvPr>
            <p:ph type="ctrTitle"/>
          </p:nvPr>
        </p:nvSpPr>
        <p:spPr>
          <a:xfrm>
            <a:off x="183358" y="451484"/>
            <a:ext cx="5024438"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Tree>
    <p:extLst>
      <p:ext uri="{BB962C8B-B14F-4D97-AF65-F5344CB8AC3E}">
        <p14:creationId xmlns:p14="http://schemas.microsoft.com/office/powerpoint/2010/main" val="384587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BDD101-BE95-4010-83B6-F0DF344BA710}"/>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8742"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6BDD101-BE95-4010-83B6-F0DF344BA710}"/>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3EFE0525-6890-4C0D-8EFF-722BBC1BEC8D}"/>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19" name="Rectangle 18">
            <a:extLst>
              <a:ext uri="{FF2B5EF4-FFF2-40B4-BE49-F238E27FC236}">
                <a16:creationId xmlns:a16="http://schemas.microsoft.com/office/drawing/2014/main" id="{3D7FBEF2-9AD3-43E7-9983-51FFDDAB3B8D}"/>
              </a:ext>
            </a:extLst>
          </p:cNvPr>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Freeform: Shape 19">
            <a:extLst>
              <a:ext uri="{FF2B5EF4-FFF2-40B4-BE49-F238E27FC236}">
                <a16:creationId xmlns:a16="http://schemas.microsoft.com/office/drawing/2014/main" id="{3FDD63DA-9332-4E6C-AFE8-A4A89B92D7A1}"/>
              </a:ext>
            </a:extLst>
          </p:cNvPr>
          <p:cNvSpPr/>
          <p:nvPr userDrawn="1"/>
        </p:nvSpPr>
        <p:spPr>
          <a:xfrm rot="3945333">
            <a:off x="3514194" y="-1258726"/>
            <a:ext cx="2490862" cy="10458269"/>
          </a:xfrm>
          <a:custGeom>
            <a:avLst/>
            <a:gdLst>
              <a:gd name="connsiteX0" fmla="*/ 0 w 2490862"/>
              <a:gd name="connsiteY0" fmla="*/ 0 h 13944358"/>
              <a:gd name="connsiteX1" fmla="*/ 73708 w 2490862"/>
              <a:gd name="connsiteY1" fmla="*/ 33194 h 13944358"/>
              <a:gd name="connsiteX2" fmla="*/ 2490862 w 2490862"/>
              <a:gd name="connsiteY2" fmla="*/ 11238798 h 13944358"/>
              <a:gd name="connsiteX3" fmla="*/ 1272412 w 2490862"/>
              <a:gd name="connsiteY3" fmla="*/ 13944358 h 13944358"/>
              <a:gd name="connsiteX4" fmla="*/ 0 w 2490862"/>
              <a:gd name="connsiteY4" fmla="*/ 13371327 h 13944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0862" h="13944358">
                <a:moveTo>
                  <a:pt x="0" y="0"/>
                </a:moveTo>
                <a:lnTo>
                  <a:pt x="73708" y="33194"/>
                </a:lnTo>
                <a:lnTo>
                  <a:pt x="2490862" y="11238798"/>
                </a:lnTo>
                <a:lnTo>
                  <a:pt x="1272412" y="13944358"/>
                </a:lnTo>
                <a:lnTo>
                  <a:pt x="0" y="13371327"/>
                </a:lnTo>
                <a:close/>
              </a:path>
            </a:pathLst>
          </a:custGeom>
          <a:solidFill>
            <a:schemeClr val="accent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Freeform: Shape 20">
            <a:extLst>
              <a:ext uri="{FF2B5EF4-FFF2-40B4-BE49-F238E27FC236}">
                <a16:creationId xmlns:a16="http://schemas.microsoft.com/office/drawing/2014/main" id="{DA8AB42A-4B08-4339-A62D-44B99B69FCB7}"/>
              </a:ext>
            </a:extLst>
          </p:cNvPr>
          <p:cNvSpPr/>
          <p:nvPr userDrawn="1"/>
        </p:nvSpPr>
        <p:spPr>
          <a:xfrm rot="19551863" flipH="1">
            <a:off x="6318051" y="-298103"/>
            <a:ext cx="1613333" cy="8134794"/>
          </a:xfrm>
          <a:custGeom>
            <a:avLst/>
            <a:gdLst>
              <a:gd name="connsiteX0" fmla="*/ 357995 w 2151110"/>
              <a:gd name="connsiteY0" fmla="*/ 0 h 8134794"/>
              <a:gd name="connsiteX1" fmla="*/ 1 w 2151110"/>
              <a:gd name="connsiteY1" fmla="*/ 242705 h 8134794"/>
              <a:gd name="connsiteX2" fmla="*/ 0 w 2151110"/>
              <a:gd name="connsiteY2" fmla="*/ 7278871 h 8134794"/>
              <a:gd name="connsiteX3" fmla="*/ 580280 w 2151110"/>
              <a:gd name="connsiteY3" fmla="*/ 8134794 h 8134794"/>
              <a:gd name="connsiteX4" fmla="*/ 2151110 w 2151110"/>
              <a:gd name="connsiteY4" fmla="*/ 7069837 h 813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110" h="8134794">
                <a:moveTo>
                  <a:pt x="357995" y="0"/>
                </a:moveTo>
                <a:lnTo>
                  <a:pt x="1" y="242705"/>
                </a:lnTo>
                <a:lnTo>
                  <a:pt x="0" y="7278871"/>
                </a:lnTo>
                <a:lnTo>
                  <a:pt x="580280" y="8134794"/>
                </a:lnTo>
                <a:lnTo>
                  <a:pt x="2151110" y="7069837"/>
                </a:lnTo>
                <a:close/>
              </a:path>
            </a:pathLst>
          </a:custGeom>
          <a:solidFill>
            <a:schemeClr val="accent5">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6" name="Group 35">
            <a:extLst>
              <a:ext uri="{FF2B5EF4-FFF2-40B4-BE49-F238E27FC236}">
                <a16:creationId xmlns:a16="http://schemas.microsoft.com/office/drawing/2014/main" id="{32606B04-04FE-485C-BCF3-6441D4A136D5}"/>
              </a:ext>
            </a:extLst>
          </p:cNvPr>
          <p:cNvGrpSpPr/>
          <p:nvPr userDrawn="1"/>
        </p:nvGrpSpPr>
        <p:grpSpPr>
          <a:xfrm>
            <a:off x="4257677" y="5438497"/>
            <a:ext cx="2428875" cy="1227462"/>
            <a:chOff x="227847" y="5413829"/>
            <a:chExt cx="3824211" cy="1449458"/>
          </a:xfrm>
        </p:grpSpPr>
        <p:sp>
          <p:nvSpPr>
            <p:cNvPr id="37" name="Rectangle 36">
              <a:extLst>
                <a:ext uri="{FF2B5EF4-FFF2-40B4-BE49-F238E27FC236}">
                  <a16:creationId xmlns:a16="http://schemas.microsoft.com/office/drawing/2014/main" id="{AA8374EA-2E70-4BC5-A463-E61BEF0E4CBF}"/>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8" name="Graphic 37">
              <a:extLst>
                <a:ext uri="{FF2B5EF4-FFF2-40B4-BE49-F238E27FC236}">
                  <a16:creationId xmlns:a16="http://schemas.microsoft.com/office/drawing/2014/main" id="{DDC22BA5-4742-45CA-BF5A-52BC1DD8474C}"/>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9" name="Subtitle 2">
            <a:extLst>
              <a:ext uri="{FF2B5EF4-FFF2-40B4-BE49-F238E27FC236}">
                <a16:creationId xmlns:a16="http://schemas.microsoft.com/office/drawing/2014/main" id="{E3412BC2-65D5-4ADF-BED3-BE9B28B96FB8}"/>
              </a:ext>
            </a:extLst>
          </p:cNvPr>
          <p:cNvSpPr>
            <a:spLocks noGrp="1"/>
          </p:cNvSpPr>
          <p:nvPr>
            <p:ph type="subTitle" idx="1"/>
          </p:nvPr>
        </p:nvSpPr>
        <p:spPr>
          <a:xfrm>
            <a:off x="240508" y="2112563"/>
            <a:ext cx="5024438"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40" name="Text Placeholder 20">
            <a:extLst>
              <a:ext uri="{FF2B5EF4-FFF2-40B4-BE49-F238E27FC236}">
                <a16:creationId xmlns:a16="http://schemas.microsoft.com/office/drawing/2014/main" id="{B332E9D7-B7B7-4D0E-8961-707E1AC0DEBC}"/>
              </a:ext>
            </a:extLst>
          </p:cNvPr>
          <p:cNvSpPr>
            <a:spLocks noGrp="1"/>
          </p:cNvSpPr>
          <p:nvPr>
            <p:ph type="body" sz="quarter" idx="13" hasCustomPrompt="1"/>
          </p:nvPr>
        </p:nvSpPr>
        <p:spPr>
          <a:xfrm>
            <a:off x="240508" y="5553931"/>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41" name="Text Placeholder 20">
            <a:extLst>
              <a:ext uri="{FF2B5EF4-FFF2-40B4-BE49-F238E27FC236}">
                <a16:creationId xmlns:a16="http://schemas.microsoft.com/office/drawing/2014/main" id="{3CC2CF07-F2CC-4C74-9957-7C735E00427D}"/>
              </a:ext>
            </a:extLst>
          </p:cNvPr>
          <p:cNvSpPr>
            <a:spLocks noGrp="1"/>
          </p:cNvSpPr>
          <p:nvPr>
            <p:ph type="body" sz="quarter" idx="14" hasCustomPrompt="1"/>
          </p:nvPr>
        </p:nvSpPr>
        <p:spPr>
          <a:xfrm>
            <a:off x="240508" y="617764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42" name="Title 1">
            <a:extLst>
              <a:ext uri="{FF2B5EF4-FFF2-40B4-BE49-F238E27FC236}">
                <a16:creationId xmlns:a16="http://schemas.microsoft.com/office/drawing/2014/main" id="{0765D408-8E62-48D0-A66A-8FC20AA57F71}"/>
              </a:ext>
            </a:extLst>
          </p:cNvPr>
          <p:cNvSpPr>
            <a:spLocks noGrp="1"/>
          </p:cNvSpPr>
          <p:nvPr>
            <p:ph type="ctrTitle"/>
          </p:nvPr>
        </p:nvSpPr>
        <p:spPr>
          <a:xfrm>
            <a:off x="240508" y="508634"/>
            <a:ext cx="5024438"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Tree>
    <p:extLst>
      <p:ext uri="{BB962C8B-B14F-4D97-AF65-F5344CB8AC3E}">
        <p14:creationId xmlns:p14="http://schemas.microsoft.com/office/powerpoint/2010/main" val="848614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976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AECD3D1D-7746-4E0B-A15D-47B44A432EAF}"/>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4FBA8FBD-7612-4F73-A6CA-EC9FE5E499BA}"/>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333414" y="334749"/>
            <a:ext cx="1967338" cy="961237"/>
          </a:xfrm>
          <a:prstGeom prst="rect">
            <a:avLst/>
          </a:prstGeom>
        </p:spPr>
      </p:pic>
      <p:sp>
        <p:nvSpPr>
          <p:cNvPr id="18" name="Freeform: Shape 17">
            <a:extLst>
              <a:ext uri="{FF2B5EF4-FFF2-40B4-BE49-F238E27FC236}">
                <a16:creationId xmlns:a16="http://schemas.microsoft.com/office/drawing/2014/main" id="{5CB3C18D-240F-4629-873D-24DDF93A29B9}"/>
              </a:ext>
            </a:extLst>
          </p:cNvPr>
          <p:cNvSpPr/>
          <p:nvPr userDrawn="1"/>
        </p:nvSpPr>
        <p:spPr>
          <a:xfrm>
            <a:off x="3" y="1592831"/>
            <a:ext cx="4468762" cy="5265173"/>
          </a:xfrm>
          <a:custGeom>
            <a:avLst/>
            <a:gdLst>
              <a:gd name="connsiteX0" fmla="*/ 0 w 5958349"/>
              <a:gd name="connsiteY0" fmla="*/ 0 h 5265173"/>
              <a:gd name="connsiteX1" fmla="*/ 5958349 w 5958349"/>
              <a:gd name="connsiteY1" fmla="*/ 0 h 5265173"/>
              <a:gd name="connsiteX2" fmla="*/ 3192712 w 5958349"/>
              <a:gd name="connsiteY2" fmla="*/ 5265173 h 5265173"/>
              <a:gd name="connsiteX3" fmla="*/ 0 w 5958349"/>
              <a:gd name="connsiteY3" fmla="*/ 5265173 h 5265173"/>
            </a:gdLst>
            <a:ahLst/>
            <a:cxnLst>
              <a:cxn ang="0">
                <a:pos x="connsiteX0" y="connsiteY0"/>
              </a:cxn>
              <a:cxn ang="0">
                <a:pos x="connsiteX1" y="connsiteY1"/>
              </a:cxn>
              <a:cxn ang="0">
                <a:pos x="connsiteX2" y="connsiteY2"/>
              </a:cxn>
              <a:cxn ang="0">
                <a:pos x="connsiteX3" y="connsiteY3"/>
              </a:cxn>
            </a:cxnLst>
            <a:rect l="l" t="t" r="r" b="b"/>
            <a:pathLst>
              <a:path w="5958349" h="5265173">
                <a:moveTo>
                  <a:pt x="0" y="0"/>
                </a:moveTo>
                <a:lnTo>
                  <a:pt x="5958349" y="0"/>
                </a:lnTo>
                <a:lnTo>
                  <a:pt x="3192712" y="5265173"/>
                </a:lnTo>
                <a:lnTo>
                  <a:pt x="0" y="5265173"/>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33414" y="3534166"/>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33414" y="1405111"/>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33414" y="4333625"/>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333414" y="5133083"/>
            <a:ext cx="2952463"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9787096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079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1" name="Picture 34" descr="https://www.nephros.com/wp-content/uploads/2016/09/Dialysis-Filter.jpg">
            <a:extLst>
              <a:ext uri="{FF2B5EF4-FFF2-40B4-BE49-F238E27FC236}">
                <a16:creationId xmlns:a16="http://schemas.microsoft.com/office/drawing/2014/main" id="{DF40B5CE-8944-481E-8384-5B59EDA281DA}"/>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id="{60D2F4CD-75EA-4B01-8089-143440D9925D}"/>
              </a:ext>
            </a:extLst>
          </p:cNvPr>
          <p:cNvSpPr/>
          <p:nvPr userDrawn="1"/>
        </p:nvSpPr>
        <p:spPr>
          <a:xfrm>
            <a:off x="3" y="0"/>
            <a:ext cx="4004188" cy="6858000"/>
          </a:xfrm>
          <a:custGeom>
            <a:avLst/>
            <a:gdLst>
              <a:gd name="connsiteX0" fmla="*/ 0 w 5338917"/>
              <a:gd name="connsiteY0" fmla="*/ 0 h 6858000"/>
              <a:gd name="connsiteX1" fmla="*/ 5338917 w 5338917"/>
              <a:gd name="connsiteY1" fmla="*/ 0 h 6858000"/>
              <a:gd name="connsiteX2" fmla="*/ 3584237 w 5338917"/>
              <a:gd name="connsiteY2" fmla="*/ 6858000 h 6858000"/>
              <a:gd name="connsiteX3" fmla="*/ 0 w 53389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38917" h="6858000">
                <a:moveTo>
                  <a:pt x="0" y="0"/>
                </a:moveTo>
                <a:lnTo>
                  <a:pt x="5338917" y="0"/>
                </a:lnTo>
                <a:lnTo>
                  <a:pt x="3584237" y="6858000"/>
                </a:lnTo>
                <a:lnTo>
                  <a:pt x="0" y="6858000"/>
                </a:lnTo>
                <a:close/>
              </a:path>
            </a:pathLst>
          </a:cu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Freeform: Shape 12">
            <a:extLst>
              <a:ext uri="{FF2B5EF4-FFF2-40B4-BE49-F238E27FC236}">
                <a16:creationId xmlns:a16="http://schemas.microsoft.com/office/drawing/2014/main" id="{F3EF06FE-3700-4FCF-B269-44846011B2A2}"/>
              </a:ext>
            </a:extLst>
          </p:cNvPr>
          <p:cNvSpPr/>
          <p:nvPr userDrawn="1"/>
        </p:nvSpPr>
        <p:spPr>
          <a:xfrm>
            <a:off x="3" y="0"/>
            <a:ext cx="3886661" cy="6858000"/>
          </a:xfrm>
          <a:custGeom>
            <a:avLst/>
            <a:gdLst>
              <a:gd name="connsiteX0" fmla="*/ 0 w 5182215"/>
              <a:gd name="connsiteY0" fmla="*/ 0 h 6858000"/>
              <a:gd name="connsiteX1" fmla="*/ 5182215 w 5182215"/>
              <a:gd name="connsiteY1" fmla="*/ 0 h 6858000"/>
              <a:gd name="connsiteX2" fmla="*/ 3467715 w 5182215"/>
              <a:gd name="connsiteY2" fmla="*/ 6858000 h 6858000"/>
              <a:gd name="connsiteX3" fmla="*/ 0 w 518221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82215" h="6858000">
                <a:moveTo>
                  <a:pt x="0" y="0"/>
                </a:moveTo>
                <a:lnTo>
                  <a:pt x="5182215" y="0"/>
                </a:lnTo>
                <a:lnTo>
                  <a:pt x="3467715" y="6858000"/>
                </a:lnTo>
                <a:lnTo>
                  <a:pt x="0" y="6858000"/>
                </a:lnTo>
                <a:close/>
              </a:path>
            </a:pathLst>
          </a:custGeom>
          <a:solidFill>
            <a:schemeClr val="accent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4" name="Graphic 13">
            <a:extLst>
              <a:ext uri="{FF2B5EF4-FFF2-40B4-BE49-F238E27FC236}">
                <a16:creationId xmlns:a16="http://schemas.microsoft.com/office/drawing/2014/main" id="{8BEF319C-1C6C-48E1-B9F6-EEEEA0B7C8CB}"/>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399780" y="5631295"/>
            <a:ext cx="1967338" cy="961237"/>
          </a:xfrm>
          <a:prstGeom prst="rect">
            <a:avLst/>
          </a:prstGeom>
        </p:spPr>
      </p:pic>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33414" y="18763"/>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33414" y="2147818"/>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33414" y="2947277"/>
            <a:ext cx="26669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333414" y="3746735"/>
            <a:ext cx="2666963"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2522697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416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grpSp>
        <p:nvGrpSpPr>
          <p:cNvPr id="16" name="Group 15">
            <a:extLst>
              <a:ext uri="{FF2B5EF4-FFF2-40B4-BE49-F238E27FC236}">
                <a16:creationId xmlns:a16="http://schemas.microsoft.com/office/drawing/2014/main" id="{8237D202-6112-484E-80B4-C865E570D5B3}"/>
              </a:ext>
            </a:extLst>
          </p:cNvPr>
          <p:cNvGrpSpPr/>
          <p:nvPr userDrawn="1"/>
        </p:nvGrpSpPr>
        <p:grpSpPr>
          <a:xfrm>
            <a:off x="2" y="0"/>
            <a:ext cx="9115425" cy="6858000"/>
            <a:chOff x="0" y="0"/>
            <a:chExt cx="12153900" cy="6858000"/>
          </a:xfrm>
        </p:grpSpPr>
        <p:pic>
          <p:nvPicPr>
            <p:cNvPr id="18" name="Graphic 17">
              <a:extLst>
                <a:ext uri="{FF2B5EF4-FFF2-40B4-BE49-F238E27FC236}">
                  <a16:creationId xmlns:a16="http://schemas.microsoft.com/office/drawing/2014/main" id="{94BFA740-6F5F-48F2-8A52-AA8E9BE5D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44200" y="5179212"/>
              <a:ext cx="1270000" cy="1406645"/>
            </a:xfrm>
            <a:prstGeom prst="rect">
              <a:avLst/>
            </a:prstGeom>
          </p:spPr>
        </p:pic>
        <p:sp>
          <p:nvSpPr>
            <p:cNvPr id="19" name="Rectangle 18">
              <a:extLst>
                <a:ext uri="{FF2B5EF4-FFF2-40B4-BE49-F238E27FC236}">
                  <a16:creationId xmlns:a16="http://schemas.microsoft.com/office/drawing/2014/main" id="{9EBE8541-4EEE-498E-8803-9E23A0214072}"/>
                </a:ext>
              </a:extLst>
            </p:cNvPr>
            <p:cNvSpPr>
              <a:spLocks/>
            </p:cNvSpPr>
            <p:nvPr/>
          </p:nvSpPr>
          <p:spPr>
            <a:xfrm>
              <a:off x="0" y="0"/>
              <a:ext cx="82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19">
              <a:extLst>
                <a:ext uri="{FF2B5EF4-FFF2-40B4-BE49-F238E27FC236}">
                  <a16:creationId xmlns:a16="http://schemas.microsoft.com/office/drawing/2014/main" id="{E07AC033-604D-49E7-A4AB-C258901E2F61}"/>
                </a:ext>
              </a:extLst>
            </p:cNvPr>
            <p:cNvSpPr>
              <a:spLocks/>
            </p:cNvSpPr>
            <p:nvPr/>
          </p:nvSpPr>
          <p:spPr>
            <a:xfrm>
              <a:off x="8874621" y="0"/>
              <a:ext cx="330761"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a:extLst>
                <a:ext uri="{FF2B5EF4-FFF2-40B4-BE49-F238E27FC236}">
                  <a16:creationId xmlns:a16="http://schemas.microsoft.com/office/drawing/2014/main" id="{5079C5A6-998D-4C7B-95F1-7E90BCF209D5}"/>
                </a:ext>
              </a:extLst>
            </p:cNvPr>
            <p:cNvSpPr>
              <a:spLocks/>
            </p:cNvSpPr>
            <p:nvPr/>
          </p:nvSpPr>
          <p:spPr>
            <a:xfrm>
              <a:off x="9721320" y="0"/>
              <a:ext cx="224081" cy="6858000"/>
            </a:xfrm>
            <a:prstGeom prst="rect">
              <a:avLst/>
            </a:pr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23">
              <a:extLst>
                <a:ext uri="{FF2B5EF4-FFF2-40B4-BE49-F238E27FC236}">
                  <a16:creationId xmlns:a16="http://schemas.microsoft.com/office/drawing/2014/main" id="{69BCF2F8-51BF-4BE5-B318-6D227FDC940E}"/>
                </a:ext>
              </a:extLst>
            </p:cNvPr>
            <p:cNvSpPr>
              <a:spLocks/>
            </p:cNvSpPr>
            <p:nvPr/>
          </p:nvSpPr>
          <p:spPr>
            <a:xfrm>
              <a:off x="10067801" y="0"/>
              <a:ext cx="168355"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a:extLst>
                <a:ext uri="{FF2B5EF4-FFF2-40B4-BE49-F238E27FC236}">
                  <a16:creationId xmlns:a16="http://schemas.microsoft.com/office/drawing/2014/main" id="{AE8F23E3-8A11-482F-B1FC-A2DE04C83748}"/>
                </a:ext>
              </a:extLst>
            </p:cNvPr>
            <p:cNvSpPr>
              <a:spLocks/>
            </p:cNvSpPr>
            <p:nvPr/>
          </p:nvSpPr>
          <p:spPr>
            <a:xfrm>
              <a:off x="10358556" y="0"/>
              <a:ext cx="126487"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a:extLst>
                <a:ext uri="{FF2B5EF4-FFF2-40B4-BE49-F238E27FC236}">
                  <a16:creationId xmlns:a16="http://schemas.microsoft.com/office/drawing/2014/main" id="{B1611D5C-0AD5-4912-A4BD-1EAE6AF214AD}"/>
                </a:ext>
              </a:extLst>
            </p:cNvPr>
            <p:cNvSpPr>
              <a:spLocks/>
            </p:cNvSpPr>
            <p:nvPr/>
          </p:nvSpPr>
          <p:spPr>
            <a:xfrm>
              <a:off x="10607443" y="0"/>
              <a:ext cx="11498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a:extLst>
                <a:ext uri="{FF2B5EF4-FFF2-40B4-BE49-F238E27FC236}">
                  <a16:creationId xmlns:a16="http://schemas.microsoft.com/office/drawing/2014/main" id="{82AD52C2-503D-4AC2-9E7B-319FD5526905}"/>
                </a:ext>
              </a:extLst>
            </p:cNvPr>
            <p:cNvSpPr>
              <a:spLocks/>
            </p:cNvSpPr>
            <p:nvPr/>
          </p:nvSpPr>
          <p:spPr>
            <a:xfrm>
              <a:off x="8352000" y="0"/>
              <a:ext cx="400221"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Rectangle 27">
              <a:extLst>
                <a:ext uri="{FF2B5EF4-FFF2-40B4-BE49-F238E27FC236}">
                  <a16:creationId xmlns:a16="http://schemas.microsoft.com/office/drawing/2014/main" id="{1DBAE6A1-B209-4DB1-90D7-FD6F885AB28F}"/>
                </a:ext>
              </a:extLst>
            </p:cNvPr>
            <p:cNvSpPr>
              <a:spLocks/>
            </p:cNvSpPr>
            <p:nvPr/>
          </p:nvSpPr>
          <p:spPr>
            <a:xfrm>
              <a:off x="9327782" y="0"/>
              <a:ext cx="271138"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a:extLst>
                <a:ext uri="{FF2B5EF4-FFF2-40B4-BE49-F238E27FC236}">
                  <a16:creationId xmlns:a16="http://schemas.microsoft.com/office/drawing/2014/main" id="{86B2E80C-B4F2-4768-B8B1-C123D001A5AB}"/>
                </a:ext>
              </a:extLst>
            </p:cNvPr>
            <p:cNvSpPr>
              <a:spLocks/>
            </p:cNvSpPr>
            <p:nvPr/>
          </p:nvSpPr>
          <p:spPr>
            <a:xfrm>
              <a:off x="10844831" y="0"/>
              <a:ext cx="86393"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29">
              <a:extLst>
                <a:ext uri="{FF2B5EF4-FFF2-40B4-BE49-F238E27FC236}">
                  <a16:creationId xmlns:a16="http://schemas.microsoft.com/office/drawing/2014/main" id="{0AB9C8BD-3FD7-444B-B0C6-F3537BA7908D}"/>
                </a:ext>
              </a:extLst>
            </p:cNvPr>
            <p:cNvSpPr>
              <a:spLocks/>
            </p:cNvSpPr>
            <p:nvPr/>
          </p:nvSpPr>
          <p:spPr>
            <a:xfrm>
              <a:off x="11053624" y="0"/>
              <a:ext cx="6490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a:extLst>
                <a:ext uri="{FF2B5EF4-FFF2-40B4-BE49-F238E27FC236}">
                  <a16:creationId xmlns:a16="http://schemas.microsoft.com/office/drawing/2014/main" id="{C3B4E941-9D22-4676-9CF3-67E59B38FDB6}"/>
                </a:ext>
              </a:extLst>
            </p:cNvPr>
            <p:cNvSpPr>
              <a:spLocks/>
            </p:cNvSpPr>
            <p:nvPr/>
          </p:nvSpPr>
          <p:spPr>
            <a:xfrm>
              <a:off x="11240932" y="0"/>
              <a:ext cx="4876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Rectangle 31">
              <a:extLst>
                <a:ext uri="{FF2B5EF4-FFF2-40B4-BE49-F238E27FC236}">
                  <a16:creationId xmlns:a16="http://schemas.microsoft.com/office/drawing/2014/main" id="{703B1508-5605-422D-9DAA-EFA59CE123AC}"/>
                </a:ext>
              </a:extLst>
            </p:cNvPr>
            <p:cNvSpPr>
              <a:spLocks/>
            </p:cNvSpPr>
            <p:nvPr/>
          </p:nvSpPr>
          <p:spPr>
            <a:xfrm>
              <a:off x="11412098" y="0"/>
              <a:ext cx="33308"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2">
              <a:extLst>
                <a:ext uri="{FF2B5EF4-FFF2-40B4-BE49-F238E27FC236}">
                  <a16:creationId xmlns:a16="http://schemas.microsoft.com/office/drawing/2014/main" id="{C15CB252-58B5-4753-9145-AC537A9FC19A}"/>
                </a:ext>
              </a:extLst>
            </p:cNvPr>
            <p:cNvSpPr/>
            <p:nvPr/>
          </p:nvSpPr>
          <p:spPr>
            <a:xfrm>
              <a:off x="1156780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Rectangle 34">
              <a:extLst>
                <a:ext uri="{FF2B5EF4-FFF2-40B4-BE49-F238E27FC236}">
                  <a16:creationId xmlns:a16="http://schemas.microsoft.com/office/drawing/2014/main" id="{E4268512-FAB4-4D05-BBBA-D72A064C9F9A}"/>
                </a:ext>
              </a:extLst>
            </p:cNvPr>
            <p:cNvSpPr/>
            <p:nvPr/>
          </p:nvSpPr>
          <p:spPr>
            <a:xfrm>
              <a:off x="1171295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36">
              <a:extLst>
                <a:ext uri="{FF2B5EF4-FFF2-40B4-BE49-F238E27FC236}">
                  <a16:creationId xmlns:a16="http://schemas.microsoft.com/office/drawing/2014/main" id="{784A14D9-0AE3-4644-B151-598DB1E3A784}"/>
                </a:ext>
              </a:extLst>
            </p:cNvPr>
            <p:cNvSpPr/>
            <p:nvPr/>
          </p:nvSpPr>
          <p:spPr>
            <a:xfrm>
              <a:off x="11858106" y="0"/>
              <a:ext cx="22750"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Rectangle 37">
              <a:extLst>
                <a:ext uri="{FF2B5EF4-FFF2-40B4-BE49-F238E27FC236}">
                  <a16:creationId xmlns:a16="http://schemas.microsoft.com/office/drawing/2014/main" id="{852CE8E9-D99B-45CB-876B-DEB99B8DC402}"/>
                </a:ext>
              </a:extLst>
            </p:cNvPr>
            <p:cNvSpPr/>
            <p:nvPr/>
          </p:nvSpPr>
          <p:spPr>
            <a:xfrm>
              <a:off x="12003256" y="0"/>
              <a:ext cx="1412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2" name="Rectangle 41">
              <a:extLst>
                <a:ext uri="{FF2B5EF4-FFF2-40B4-BE49-F238E27FC236}">
                  <a16:creationId xmlns:a16="http://schemas.microsoft.com/office/drawing/2014/main" id="{17CAA97A-F568-48BE-9BC1-5FCDD5D5977B}"/>
                </a:ext>
              </a:extLst>
            </p:cNvPr>
            <p:cNvSpPr/>
            <p:nvPr/>
          </p:nvSpPr>
          <p:spPr>
            <a:xfrm>
              <a:off x="12139774" y="0"/>
              <a:ext cx="14126" cy="6858000"/>
            </a:xfrm>
            <a:prstGeom prst="rect">
              <a:avLst/>
            </a:prstGeom>
            <a:solidFill>
              <a:schemeClr val="accent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43" name="Group 42">
            <a:extLst>
              <a:ext uri="{FF2B5EF4-FFF2-40B4-BE49-F238E27FC236}">
                <a16:creationId xmlns:a16="http://schemas.microsoft.com/office/drawing/2014/main" id="{E7F5D0E9-A1DF-4289-8732-673358F1AF5E}"/>
              </a:ext>
            </a:extLst>
          </p:cNvPr>
          <p:cNvGrpSpPr/>
          <p:nvPr userDrawn="1"/>
        </p:nvGrpSpPr>
        <p:grpSpPr>
          <a:xfrm>
            <a:off x="0" y="1891472"/>
            <a:ext cx="6205924" cy="808102"/>
            <a:chOff x="-200025" y="1891472"/>
            <a:chExt cx="8274565" cy="808102"/>
          </a:xfrm>
        </p:grpSpPr>
        <p:pic>
          <p:nvPicPr>
            <p:cNvPr id="44" name="Picture 10" descr="Image result for heart beat line PNG">
              <a:extLst>
                <a:ext uri="{FF2B5EF4-FFF2-40B4-BE49-F238E27FC236}">
                  <a16:creationId xmlns:a16="http://schemas.microsoft.com/office/drawing/2014/main" id="{129C6DA5-452C-4FF8-8A2B-8D17DB59626F}"/>
                </a:ext>
              </a:extLst>
            </p:cNvPr>
            <p:cNvPicPr>
              <a:picLocks noChangeAspect="1" noChangeArrowheads="1"/>
            </p:cNvPicPr>
            <p:nvPr/>
          </p:nvPicPr>
          <p:blipFill rotWithShape="1">
            <a:blip r:embed="rId9">
              <a:duotone>
                <a:prstClr val="black"/>
                <a:schemeClr val="bg1">
                  <a:tint val="45000"/>
                  <a:satMod val="400000"/>
                </a:schemeClr>
              </a:duotone>
              <a:extLst>
                <a:ext uri="{BEBA8EAE-BF5A-486C-A8C5-ECC9F3942E4B}">
                  <a14:imgProps xmlns:a14="http://schemas.microsoft.com/office/drawing/2010/main">
                    <a14:imgLayer r:embed="rId10">
                      <a14:imgEffect>
                        <a14:sharpenSoften amount="-3000"/>
                      </a14:imgEffect>
                      <a14:imgEffect>
                        <a14:brightnessContrast bright="100000"/>
                      </a14:imgEffect>
                    </a14:imgLayer>
                  </a14:imgProps>
                </a:ext>
                <a:ext uri="{28A0092B-C50C-407E-A947-70E740481C1C}">
                  <a14:useLocalDpi xmlns:a14="http://schemas.microsoft.com/office/drawing/2010/main" val="0"/>
                </a:ext>
              </a:extLst>
            </a:blip>
            <a:srcRect l="10634" t="25221" r="5873" b="17467"/>
            <a:stretch/>
          </p:blipFill>
          <p:spPr bwMode="auto">
            <a:xfrm>
              <a:off x="6091400" y="1891472"/>
              <a:ext cx="1983140" cy="808102"/>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a:extLst>
                <a:ext uri="{FF2B5EF4-FFF2-40B4-BE49-F238E27FC236}">
                  <a16:creationId xmlns:a16="http://schemas.microsoft.com/office/drawing/2014/main" id="{EBB09186-9BC6-4C91-A676-EBF3C3572AB2}"/>
                </a:ext>
              </a:extLst>
            </p:cNvPr>
            <p:cNvCxnSpPr>
              <a:cxnSpLocks/>
            </p:cNvCxnSpPr>
            <p:nvPr/>
          </p:nvCxnSpPr>
          <p:spPr>
            <a:xfrm>
              <a:off x="-200025" y="2282181"/>
              <a:ext cx="65532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83357" y="2798363"/>
            <a:ext cx="4895850"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83357" y="3991830"/>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hasCustomPrompt="1"/>
          </p:nvPr>
        </p:nvSpPr>
        <p:spPr>
          <a:xfrm>
            <a:off x="183357" y="512989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61927" y="970417"/>
            <a:ext cx="4731543"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grpSp>
        <p:nvGrpSpPr>
          <p:cNvPr id="46" name="Group 45">
            <a:extLst>
              <a:ext uri="{FF2B5EF4-FFF2-40B4-BE49-F238E27FC236}">
                <a16:creationId xmlns:a16="http://schemas.microsoft.com/office/drawing/2014/main" id="{90ECDED8-AD58-475F-8A4E-D59DCAF7412F}"/>
              </a:ext>
            </a:extLst>
          </p:cNvPr>
          <p:cNvGrpSpPr/>
          <p:nvPr userDrawn="1"/>
        </p:nvGrpSpPr>
        <p:grpSpPr>
          <a:xfrm>
            <a:off x="4580962" y="5933797"/>
            <a:ext cx="1470929" cy="743352"/>
            <a:chOff x="227847" y="5413829"/>
            <a:chExt cx="3824211" cy="1449458"/>
          </a:xfrm>
        </p:grpSpPr>
        <p:sp>
          <p:nvSpPr>
            <p:cNvPr id="47" name="Rectangle 46">
              <a:extLst>
                <a:ext uri="{FF2B5EF4-FFF2-40B4-BE49-F238E27FC236}">
                  <a16:creationId xmlns:a16="http://schemas.microsoft.com/office/drawing/2014/main" id="{E250229A-E937-447C-AE0D-DCCFB93DAFC4}"/>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48" name="Graphic 47">
              <a:extLst>
                <a:ext uri="{FF2B5EF4-FFF2-40B4-BE49-F238E27FC236}">
                  <a16:creationId xmlns:a16="http://schemas.microsoft.com/office/drawing/2014/main" id="{25DFD396-4CCD-40D0-84C6-8AE1A85CC7A3}"/>
                </a:ext>
              </a:extLst>
            </p:cNvPr>
            <p:cNvPicPr>
              <a:picLocks noChangeAspect="1"/>
            </p:cNvPicPr>
            <p:nvPr userDrawn="1"/>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95219" r="79181" b="-606"/>
            <a:stretch/>
          </p:blipFill>
          <p:spPr>
            <a:xfrm>
              <a:off x="620896" y="5608210"/>
              <a:ext cx="3038114" cy="1113312"/>
            </a:xfrm>
            <a:prstGeom prst="rect">
              <a:avLst/>
            </a:prstGeom>
          </p:spPr>
        </p:pic>
      </p:grpSp>
    </p:spTree>
    <p:extLst>
      <p:ext uri="{BB962C8B-B14F-4D97-AF65-F5344CB8AC3E}">
        <p14:creationId xmlns:p14="http://schemas.microsoft.com/office/powerpoint/2010/main" val="30828541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181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489A19AA-0C47-45DA-8CD7-5736CB2EA81C}"/>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11335" r="3505"/>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2840CEA-625F-4DA9-8F80-932CCEC741C6}"/>
              </a:ext>
            </a:extLst>
          </p:cNvPr>
          <p:cNvSpPr/>
          <p:nvPr userDrawn="1"/>
        </p:nvSpPr>
        <p:spPr>
          <a:xfrm>
            <a:off x="0" y="5181600"/>
            <a:ext cx="9144000" cy="1676400"/>
          </a:xfrm>
          <a:prstGeom prst="rect">
            <a:avLst/>
          </a:prstGeom>
          <a:gradFill flip="none" rotWithShape="1">
            <a:gsLst>
              <a:gs pos="33000">
                <a:schemeClr val="tx2">
                  <a:alpha val="8000"/>
                </a:schemeClr>
              </a:gs>
              <a:gs pos="100000">
                <a:schemeClr val="accent2">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Freeform: Shape 16">
            <a:extLst>
              <a:ext uri="{FF2B5EF4-FFF2-40B4-BE49-F238E27FC236}">
                <a16:creationId xmlns:a16="http://schemas.microsoft.com/office/drawing/2014/main" id="{62A2A44D-46D4-44FD-97E5-0A63F8F9093B}"/>
              </a:ext>
            </a:extLst>
          </p:cNvPr>
          <p:cNvSpPr/>
          <p:nvPr userDrawn="1"/>
        </p:nvSpPr>
        <p:spPr>
          <a:xfrm>
            <a:off x="2" y="0"/>
            <a:ext cx="4371975" cy="5067946"/>
          </a:xfrm>
          <a:custGeom>
            <a:avLst/>
            <a:gdLst>
              <a:gd name="connsiteX0" fmla="*/ 0 w 6686550"/>
              <a:gd name="connsiteY0" fmla="*/ 0 h 6858000"/>
              <a:gd name="connsiteX1" fmla="*/ 6686550 w 6686550"/>
              <a:gd name="connsiteY1" fmla="*/ 0 h 6858000"/>
              <a:gd name="connsiteX2" fmla="*/ 4972050 w 6686550"/>
              <a:gd name="connsiteY2" fmla="*/ 6858000 h 6858000"/>
              <a:gd name="connsiteX3" fmla="*/ 0 w 66865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86550" h="6858000">
                <a:moveTo>
                  <a:pt x="0" y="0"/>
                </a:moveTo>
                <a:lnTo>
                  <a:pt x="6686550" y="0"/>
                </a:lnTo>
                <a:lnTo>
                  <a:pt x="4972050" y="6858000"/>
                </a:lnTo>
                <a:lnTo>
                  <a:pt x="0" y="6858000"/>
                </a:lnTo>
                <a:close/>
              </a:path>
            </a:pathLst>
          </a:cu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8" name="Graphic 17">
            <a:extLst>
              <a:ext uri="{FF2B5EF4-FFF2-40B4-BE49-F238E27FC236}">
                <a16:creationId xmlns:a16="http://schemas.microsoft.com/office/drawing/2014/main" id="{B9505C67-6441-4F7C-8564-8F688CE3210D}"/>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248836" y="5402848"/>
            <a:ext cx="2588342" cy="1264657"/>
          </a:xfrm>
          <a:prstGeom prst="rect">
            <a:avLst/>
          </a:prstGeom>
        </p:spPr>
      </p:pic>
      <p:sp>
        <p:nvSpPr>
          <p:cNvPr id="19" name="Freeform: Shape 18">
            <a:extLst>
              <a:ext uri="{FF2B5EF4-FFF2-40B4-BE49-F238E27FC236}">
                <a16:creationId xmlns:a16="http://schemas.microsoft.com/office/drawing/2014/main" id="{48567639-96DA-4A3B-ADEF-5EB328CE74BD}"/>
              </a:ext>
            </a:extLst>
          </p:cNvPr>
          <p:cNvSpPr/>
          <p:nvPr userDrawn="1"/>
        </p:nvSpPr>
        <p:spPr>
          <a:xfrm flipH="1" flipV="1">
            <a:off x="3343276" y="0"/>
            <a:ext cx="5800725" cy="5067946"/>
          </a:xfrm>
          <a:custGeom>
            <a:avLst/>
            <a:gdLst>
              <a:gd name="connsiteX0" fmla="*/ 6239608 w 7734300"/>
              <a:gd name="connsiteY0" fmla="*/ 5067946 h 5067946"/>
              <a:gd name="connsiteX1" fmla="*/ 1905000 w 7734300"/>
              <a:gd name="connsiteY1" fmla="*/ 5067946 h 5067946"/>
              <a:gd name="connsiteX2" fmla="*/ 0 w 7734300"/>
              <a:gd name="connsiteY2" fmla="*/ 5067946 h 5067946"/>
              <a:gd name="connsiteX3" fmla="*/ 0 w 7734300"/>
              <a:gd name="connsiteY3" fmla="*/ 0 h 5067946"/>
              <a:gd name="connsiteX4" fmla="*/ 1905000 w 7734300"/>
              <a:gd name="connsiteY4" fmla="*/ 0 h 5067946"/>
              <a:gd name="connsiteX5" fmla="*/ 7734300 w 7734300"/>
              <a:gd name="connsiteY5" fmla="*/ 0 h 506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4300" h="5067946">
                <a:moveTo>
                  <a:pt x="6239608" y="5067946"/>
                </a:moveTo>
                <a:lnTo>
                  <a:pt x="1905000" y="5067946"/>
                </a:lnTo>
                <a:lnTo>
                  <a:pt x="0" y="5067946"/>
                </a:lnTo>
                <a:lnTo>
                  <a:pt x="0" y="0"/>
                </a:lnTo>
                <a:lnTo>
                  <a:pt x="1905000" y="0"/>
                </a:lnTo>
                <a:lnTo>
                  <a:pt x="7734300" y="0"/>
                </a:lnTo>
                <a:close/>
              </a:path>
            </a:pathLst>
          </a:custGeom>
          <a:solidFill>
            <a:schemeClr val="tx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248837" y="18763"/>
            <a:ext cx="3299907"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248837" y="2147818"/>
            <a:ext cx="3299907"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248837" y="2947277"/>
            <a:ext cx="2998629"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248837" y="3746735"/>
            <a:ext cx="2998629"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21725194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283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3" name="Picture 34" descr="https://www.nephros.com/wp-content/uploads/2016/09/Dialysis-Filter.jpg">
            <a:extLst>
              <a:ext uri="{FF2B5EF4-FFF2-40B4-BE49-F238E27FC236}">
                <a16:creationId xmlns:a16="http://schemas.microsoft.com/office/drawing/2014/main" id="{2C2A543F-FD0A-4B42-8FD1-3EED7C10998A}"/>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72" r="6768"/>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14" name="Diamond 13">
            <a:extLst>
              <a:ext uri="{FF2B5EF4-FFF2-40B4-BE49-F238E27FC236}">
                <a16:creationId xmlns:a16="http://schemas.microsoft.com/office/drawing/2014/main" id="{98817860-50E2-446C-A53A-F0856DC7960B}"/>
              </a:ext>
            </a:extLst>
          </p:cNvPr>
          <p:cNvSpPr/>
          <p:nvPr userDrawn="1"/>
        </p:nvSpPr>
        <p:spPr>
          <a:xfrm>
            <a:off x="286783" y="174598"/>
            <a:ext cx="5060072" cy="6508804"/>
          </a:xfrm>
          <a:prstGeom prst="diamond">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0" name="Graphic 19">
            <a:extLst>
              <a:ext uri="{FF2B5EF4-FFF2-40B4-BE49-F238E27FC236}">
                <a16:creationId xmlns:a16="http://schemas.microsoft.com/office/drawing/2014/main" id="{F6E1817A-9C9A-40A1-8685-C62BDCDC1D66}"/>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171453" y="5855836"/>
            <a:ext cx="1700213" cy="830719"/>
          </a:xfrm>
          <a:prstGeom prst="rect">
            <a:avLst/>
          </a:prstGeom>
        </p:spPr>
      </p:pic>
      <p:sp>
        <p:nvSpPr>
          <p:cNvPr id="23" name="Freeform: Shape 22">
            <a:extLst>
              <a:ext uri="{FF2B5EF4-FFF2-40B4-BE49-F238E27FC236}">
                <a16:creationId xmlns:a16="http://schemas.microsoft.com/office/drawing/2014/main" id="{4378E6B8-9627-4548-A0D6-BEF6EC227849}"/>
              </a:ext>
            </a:extLst>
          </p:cNvPr>
          <p:cNvSpPr/>
          <p:nvPr userDrawn="1"/>
        </p:nvSpPr>
        <p:spPr>
          <a:xfrm>
            <a:off x="1" y="0"/>
            <a:ext cx="2689378" cy="3254402"/>
          </a:xfrm>
          <a:custGeom>
            <a:avLst/>
            <a:gdLst>
              <a:gd name="connsiteX0" fmla="*/ 0 w 3585837"/>
              <a:gd name="connsiteY0" fmla="*/ 0 h 3254402"/>
              <a:gd name="connsiteX1" fmla="*/ 3585837 w 3585837"/>
              <a:gd name="connsiteY1" fmla="*/ 0 h 3254402"/>
              <a:gd name="connsiteX2" fmla="*/ 212456 w 3585837"/>
              <a:gd name="connsiteY2" fmla="*/ 3254402 h 3254402"/>
              <a:gd name="connsiteX3" fmla="*/ 0 w 3585837"/>
              <a:gd name="connsiteY3" fmla="*/ 3049440 h 3254402"/>
            </a:gdLst>
            <a:ahLst/>
            <a:cxnLst>
              <a:cxn ang="0">
                <a:pos x="connsiteX0" y="connsiteY0"/>
              </a:cxn>
              <a:cxn ang="0">
                <a:pos x="connsiteX1" y="connsiteY1"/>
              </a:cxn>
              <a:cxn ang="0">
                <a:pos x="connsiteX2" y="connsiteY2"/>
              </a:cxn>
              <a:cxn ang="0">
                <a:pos x="connsiteX3" y="connsiteY3"/>
              </a:cxn>
            </a:cxnLst>
            <a:rect l="l" t="t" r="r" b="b"/>
            <a:pathLst>
              <a:path w="3585837" h="3254402">
                <a:moveTo>
                  <a:pt x="0" y="0"/>
                </a:moveTo>
                <a:lnTo>
                  <a:pt x="3585837" y="0"/>
                </a:lnTo>
                <a:lnTo>
                  <a:pt x="212456" y="3254402"/>
                </a:lnTo>
                <a:lnTo>
                  <a:pt x="0" y="3049440"/>
                </a:lnTo>
                <a:close/>
              </a:path>
            </a:pathLst>
          </a:custGeom>
          <a:solidFill>
            <a:schemeClr val="accent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Freeform: Shape 23">
            <a:extLst>
              <a:ext uri="{FF2B5EF4-FFF2-40B4-BE49-F238E27FC236}">
                <a16:creationId xmlns:a16="http://schemas.microsoft.com/office/drawing/2014/main" id="{9FF4DC4D-D129-441C-8254-1015FB692F8D}"/>
              </a:ext>
            </a:extLst>
          </p:cNvPr>
          <p:cNvSpPr/>
          <p:nvPr userDrawn="1"/>
        </p:nvSpPr>
        <p:spPr>
          <a:xfrm>
            <a:off x="2941492" y="3603598"/>
            <a:ext cx="5060072" cy="3254402"/>
          </a:xfrm>
          <a:custGeom>
            <a:avLst/>
            <a:gdLst>
              <a:gd name="connsiteX0" fmla="*/ 3373381 w 6746762"/>
              <a:gd name="connsiteY0" fmla="*/ 0 h 3254402"/>
              <a:gd name="connsiteX1" fmla="*/ 6746762 w 6746762"/>
              <a:gd name="connsiteY1" fmla="*/ 3254402 h 3254402"/>
              <a:gd name="connsiteX2" fmla="*/ 0 w 6746762"/>
              <a:gd name="connsiteY2" fmla="*/ 3254402 h 3254402"/>
            </a:gdLst>
            <a:ahLst/>
            <a:cxnLst>
              <a:cxn ang="0">
                <a:pos x="connsiteX0" y="connsiteY0"/>
              </a:cxn>
              <a:cxn ang="0">
                <a:pos x="connsiteX1" y="connsiteY1"/>
              </a:cxn>
              <a:cxn ang="0">
                <a:pos x="connsiteX2" y="connsiteY2"/>
              </a:cxn>
            </a:cxnLst>
            <a:rect l="l" t="t" r="r" b="b"/>
            <a:pathLst>
              <a:path w="6746762" h="3254402">
                <a:moveTo>
                  <a:pt x="3373381" y="0"/>
                </a:moveTo>
                <a:lnTo>
                  <a:pt x="6746762" y="3254402"/>
                </a:lnTo>
                <a:lnTo>
                  <a:pt x="0" y="3254402"/>
                </a:lnTo>
                <a:close/>
              </a:path>
            </a:pathLst>
          </a:custGeom>
          <a:solidFill>
            <a:schemeClr val="tx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340588" y="1402216"/>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lgn="ct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340588" y="3538233"/>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340588" y="4344658"/>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1808533" y="4856109"/>
            <a:ext cx="2016572" cy="9971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6542490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386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A6E0BEC0-ACE3-4CAB-A70F-A43D3C6E8242}"/>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72" r="6768"/>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1604F21D-B0B7-4627-936F-E31155B45F6F}"/>
              </a:ext>
            </a:extLst>
          </p:cNvPr>
          <p:cNvSpPr/>
          <p:nvPr userDrawn="1"/>
        </p:nvSpPr>
        <p:spPr>
          <a:xfrm>
            <a:off x="0" y="0"/>
            <a:ext cx="6836310" cy="6858000"/>
          </a:xfrm>
          <a:custGeom>
            <a:avLst/>
            <a:gdLst>
              <a:gd name="connsiteX0" fmla="*/ 8790614 w 9115080"/>
              <a:gd name="connsiteY0" fmla="*/ 0 h 6858000"/>
              <a:gd name="connsiteX1" fmla="*/ 9115080 w 9115080"/>
              <a:gd name="connsiteY1" fmla="*/ 0 h 6858000"/>
              <a:gd name="connsiteX2" fmla="*/ 9061198 w 9115080"/>
              <a:gd name="connsiteY2" fmla="*/ 14030 h 6858000"/>
              <a:gd name="connsiteX3" fmla="*/ 7648699 w 9115080"/>
              <a:gd name="connsiteY3" fmla="*/ 545064 h 6858000"/>
              <a:gd name="connsiteX4" fmla="*/ 3970229 w 9115080"/>
              <a:gd name="connsiteY4" fmla="*/ 6811065 h 6858000"/>
              <a:gd name="connsiteX5" fmla="*/ 3994785 w 9115080"/>
              <a:gd name="connsiteY5" fmla="*/ 6858000 h 6858000"/>
              <a:gd name="connsiteX6" fmla="*/ 3670319 w 9115080"/>
              <a:gd name="connsiteY6" fmla="*/ 6858000 h 6858000"/>
              <a:gd name="connsiteX7" fmla="*/ 3645763 w 9115080"/>
              <a:gd name="connsiteY7" fmla="*/ 6811065 h 6858000"/>
              <a:gd name="connsiteX8" fmla="*/ 7324234 w 9115080"/>
              <a:gd name="connsiteY8" fmla="*/ 545064 h 6858000"/>
              <a:gd name="connsiteX9" fmla="*/ 8736732 w 9115080"/>
              <a:gd name="connsiteY9" fmla="*/ 14030 h 6858000"/>
              <a:gd name="connsiteX10" fmla="*/ 0 w 9115080"/>
              <a:gd name="connsiteY10" fmla="*/ 0 h 6858000"/>
              <a:gd name="connsiteX11" fmla="*/ 1 w 9115080"/>
              <a:gd name="connsiteY11" fmla="*/ 0 h 6858000"/>
              <a:gd name="connsiteX12" fmla="*/ 1 w 9115080"/>
              <a:gd name="connsiteY12" fmla="*/ 6858000 h 6858000"/>
              <a:gd name="connsiteX13" fmla="*/ 0 w 911508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5080" h="6858000">
                <a:moveTo>
                  <a:pt x="8790614" y="0"/>
                </a:moveTo>
                <a:lnTo>
                  <a:pt x="9115080" y="0"/>
                </a:lnTo>
                <a:lnTo>
                  <a:pt x="9061198" y="14030"/>
                </a:lnTo>
                <a:cubicBezTo>
                  <a:pt x="8591342" y="145184"/>
                  <a:pt x="8117374" y="321720"/>
                  <a:pt x="7648699" y="545064"/>
                </a:cubicBezTo>
                <a:cubicBezTo>
                  <a:pt x="4649175" y="1974467"/>
                  <a:pt x="3002267" y="4779851"/>
                  <a:pt x="3970229" y="6811065"/>
                </a:cubicBezTo>
                <a:lnTo>
                  <a:pt x="3994785" y="6858000"/>
                </a:lnTo>
                <a:lnTo>
                  <a:pt x="3670319" y="6858000"/>
                </a:lnTo>
                <a:lnTo>
                  <a:pt x="3645763" y="6811065"/>
                </a:lnTo>
                <a:cubicBezTo>
                  <a:pt x="2677802" y="4779851"/>
                  <a:pt x="4324709" y="1974467"/>
                  <a:pt x="7324234" y="545064"/>
                </a:cubicBezTo>
                <a:cubicBezTo>
                  <a:pt x="7792909" y="321720"/>
                  <a:pt x="8266876" y="145184"/>
                  <a:pt x="8736732" y="14030"/>
                </a:cubicBezTo>
                <a:close/>
                <a:moveTo>
                  <a:pt x="0" y="0"/>
                </a:moveTo>
                <a:lnTo>
                  <a:pt x="1" y="0"/>
                </a:lnTo>
                <a:lnTo>
                  <a:pt x="1" y="6858000"/>
                </a:lnTo>
                <a:lnTo>
                  <a:pt x="0" y="6858000"/>
                </a:lnTo>
                <a:close/>
              </a:path>
            </a:pathLst>
          </a:custGeom>
          <a:solidFill>
            <a:schemeClr val="accent2">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Freeform: Shape 16">
            <a:extLst>
              <a:ext uri="{FF2B5EF4-FFF2-40B4-BE49-F238E27FC236}">
                <a16:creationId xmlns:a16="http://schemas.microsoft.com/office/drawing/2014/main" id="{08FCA40B-19FB-416D-BAEC-1ECF91A2BC64}"/>
              </a:ext>
            </a:extLst>
          </p:cNvPr>
          <p:cNvSpPr/>
          <p:nvPr userDrawn="1"/>
        </p:nvSpPr>
        <p:spPr>
          <a:xfrm>
            <a:off x="0" y="0"/>
            <a:ext cx="6592960" cy="6858000"/>
          </a:xfrm>
          <a:custGeom>
            <a:avLst/>
            <a:gdLst>
              <a:gd name="connsiteX0" fmla="*/ 0 w 8790613"/>
              <a:gd name="connsiteY0" fmla="*/ 0 h 6858000"/>
              <a:gd name="connsiteX1" fmla="*/ 8790613 w 8790613"/>
              <a:gd name="connsiteY1" fmla="*/ 0 h 6858000"/>
              <a:gd name="connsiteX2" fmla="*/ 8736731 w 8790613"/>
              <a:gd name="connsiteY2" fmla="*/ 14030 h 6858000"/>
              <a:gd name="connsiteX3" fmla="*/ 7324232 w 8790613"/>
              <a:gd name="connsiteY3" fmla="*/ 545064 h 6858000"/>
              <a:gd name="connsiteX4" fmla="*/ 3645762 w 8790613"/>
              <a:gd name="connsiteY4" fmla="*/ 6811065 h 6858000"/>
              <a:gd name="connsiteX5" fmla="*/ 3670318 w 8790613"/>
              <a:gd name="connsiteY5" fmla="*/ 6858000 h 6858000"/>
              <a:gd name="connsiteX6" fmla="*/ 0 w 879061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0613" h="6858000">
                <a:moveTo>
                  <a:pt x="0" y="0"/>
                </a:moveTo>
                <a:lnTo>
                  <a:pt x="8790613" y="0"/>
                </a:lnTo>
                <a:lnTo>
                  <a:pt x="8736731" y="14030"/>
                </a:lnTo>
                <a:cubicBezTo>
                  <a:pt x="8266875" y="145184"/>
                  <a:pt x="7792908" y="321720"/>
                  <a:pt x="7324232" y="545064"/>
                </a:cubicBezTo>
                <a:cubicBezTo>
                  <a:pt x="4324708" y="1974467"/>
                  <a:pt x="2677801" y="4779851"/>
                  <a:pt x="3645762" y="6811065"/>
                </a:cubicBezTo>
                <a:lnTo>
                  <a:pt x="3670318" y="6858000"/>
                </a:lnTo>
                <a:lnTo>
                  <a:pt x="0" y="6858000"/>
                </a:lnTo>
                <a:close/>
              </a:path>
            </a:pathLst>
          </a:custGeom>
          <a:solidFill>
            <a:schemeClr val="accent2">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Freeform: Shape 17">
            <a:extLst>
              <a:ext uri="{FF2B5EF4-FFF2-40B4-BE49-F238E27FC236}">
                <a16:creationId xmlns:a16="http://schemas.microsoft.com/office/drawing/2014/main" id="{3840ECB1-834C-4663-915B-87256E40B7B5}"/>
              </a:ext>
            </a:extLst>
          </p:cNvPr>
          <p:cNvSpPr/>
          <p:nvPr userDrawn="1"/>
        </p:nvSpPr>
        <p:spPr>
          <a:xfrm>
            <a:off x="1" y="0"/>
            <a:ext cx="7079660" cy="6858000"/>
          </a:xfrm>
          <a:custGeom>
            <a:avLst/>
            <a:gdLst>
              <a:gd name="connsiteX0" fmla="*/ 8790614 w 9439547"/>
              <a:gd name="connsiteY0" fmla="*/ 0 h 6858000"/>
              <a:gd name="connsiteX1" fmla="*/ 9439547 w 9439547"/>
              <a:gd name="connsiteY1" fmla="*/ 0 h 6858000"/>
              <a:gd name="connsiteX2" fmla="*/ 9385665 w 9439547"/>
              <a:gd name="connsiteY2" fmla="*/ 14030 h 6858000"/>
              <a:gd name="connsiteX3" fmla="*/ 7973166 w 9439547"/>
              <a:gd name="connsiteY3" fmla="*/ 545064 h 6858000"/>
              <a:gd name="connsiteX4" fmla="*/ 4294696 w 9439547"/>
              <a:gd name="connsiteY4" fmla="*/ 6811065 h 6858000"/>
              <a:gd name="connsiteX5" fmla="*/ 4319252 w 9439547"/>
              <a:gd name="connsiteY5" fmla="*/ 6858000 h 6858000"/>
              <a:gd name="connsiteX6" fmla="*/ 3670319 w 9439547"/>
              <a:gd name="connsiteY6" fmla="*/ 6858000 h 6858000"/>
              <a:gd name="connsiteX7" fmla="*/ 3645763 w 9439547"/>
              <a:gd name="connsiteY7" fmla="*/ 6811065 h 6858000"/>
              <a:gd name="connsiteX8" fmla="*/ 7324233 w 9439547"/>
              <a:gd name="connsiteY8" fmla="*/ 545064 h 6858000"/>
              <a:gd name="connsiteX9" fmla="*/ 8736732 w 9439547"/>
              <a:gd name="connsiteY9" fmla="*/ 14030 h 6858000"/>
              <a:gd name="connsiteX10" fmla="*/ 0 w 9439547"/>
              <a:gd name="connsiteY10" fmla="*/ 0 h 6858000"/>
              <a:gd name="connsiteX11" fmla="*/ 1 w 9439547"/>
              <a:gd name="connsiteY11" fmla="*/ 0 h 6858000"/>
              <a:gd name="connsiteX12" fmla="*/ 1 w 9439547"/>
              <a:gd name="connsiteY12" fmla="*/ 6858000 h 6858000"/>
              <a:gd name="connsiteX13" fmla="*/ 0 w 9439547"/>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39547" h="6858000">
                <a:moveTo>
                  <a:pt x="8790614" y="0"/>
                </a:moveTo>
                <a:lnTo>
                  <a:pt x="9439547" y="0"/>
                </a:lnTo>
                <a:lnTo>
                  <a:pt x="9385665" y="14030"/>
                </a:lnTo>
                <a:cubicBezTo>
                  <a:pt x="8915809" y="145184"/>
                  <a:pt x="8441841" y="321720"/>
                  <a:pt x="7973166" y="545064"/>
                </a:cubicBezTo>
                <a:cubicBezTo>
                  <a:pt x="4973642" y="1974467"/>
                  <a:pt x="3326735" y="4779851"/>
                  <a:pt x="4294696" y="6811065"/>
                </a:cubicBezTo>
                <a:lnTo>
                  <a:pt x="4319252" y="6858000"/>
                </a:lnTo>
                <a:lnTo>
                  <a:pt x="3670319" y="6858000"/>
                </a:lnTo>
                <a:lnTo>
                  <a:pt x="3645763" y="6811065"/>
                </a:lnTo>
                <a:cubicBezTo>
                  <a:pt x="2677802" y="4779851"/>
                  <a:pt x="4324709" y="1974467"/>
                  <a:pt x="7324233" y="545064"/>
                </a:cubicBezTo>
                <a:cubicBezTo>
                  <a:pt x="7792909" y="321720"/>
                  <a:pt x="8266876" y="145184"/>
                  <a:pt x="8736732" y="14030"/>
                </a:cubicBezTo>
                <a:close/>
                <a:moveTo>
                  <a:pt x="0" y="0"/>
                </a:moveTo>
                <a:lnTo>
                  <a:pt x="1" y="0"/>
                </a:lnTo>
                <a:lnTo>
                  <a:pt x="1" y="6858000"/>
                </a:lnTo>
                <a:lnTo>
                  <a:pt x="0" y="6858000"/>
                </a:lnTo>
                <a:close/>
              </a:path>
            </a:pathLst>
          </a:custGeom>
          <a:solidFill>
            <a:schemeClr val="accent2">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9" name="Graphic 18">
            <a:extLst>
              <a:ext uri="{FF2B5EF4-FFF2-40B4-BE49-F238E27FC236}">
                <a16:creationId xmlns:a16="http://schemas.microsoft.com/office/drawing/2014/main" id="{406C0B17-B753-4AD8-9036-3DB4FBA52E5E}"/>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418746" y="5872570"/>
            <a:ext cx="1374826" cy="671736"/>
          </a:xfrm>
          <a:prstGeom prst="rect">
            <a:avLst/>
          </a:prstGeom>
        </p:spPr>
      </p:pic>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234460" y="510053"/>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234460" y="1993751"/>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234460" y="2701852"/>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234460" y="3409949"/>
            <a:ext cx="2022968" cy="9971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724159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488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Calibri Bold" panose="020F0702030404030204" pitchFamily="34" charset="0"/>
              <a:ea typeface="+mj-ea"/>
              <a:cs typeface="+mj-cs"/>
              <a:sym typeface="Calibri Bold" panose="020F0702030404030204" pitchFamily="34" charset="0"/>
            </a:endParaRPr>
          </a:p>
        </p:txBody>
      </p:sp>
      <p:sp>
        <p:nvSpPr>
          <p:cNvPr id="3" name="Rectangle 2">
            <a:extLst>
              <a:ext uri="{FF2B5EF4-FFF2-40B4-BE49-F238E27FC236}">
                <a16:creationId xmlns:a16="http://schemas.microsoft.com/office/drawing/2014/main" id="{D010CB69-EFC2-40AF-ACF7-A52A9AF5A7F3}"/>
              </a:ext>
            </a:extLst>
          </p:cNvPr>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4142826" y="-87331"/>
            <a:ext cx="4758289" cy="2492990"/>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r">
              <a:defRPr lang="en-US" sz="6000" dirty="0">
                <a:solidFill>
                  <a:schemeClr val="bg1"/>
                </a:solidFill>
              </a:defRPr>
            </a:lvl1pPr>
          </a:lstStyle>
          <a:p>
            <a:pPr marL="0" lvl="0">
              <a:spcBef>
                <a:spcPts val="0"/>
              </a:spcBef>
            </a:pPr>
            <a:r>
              <a:rPr lang="en-US"/>
              <a:t>Click to edit Master title style</a:t>
            </a:r>
            <a:endParaRPr lang="en-US" dirty="0"/>
          </a:p>
        </p:txBody>
      </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lum bright="10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7500939" y="6038440"/>
            <a:ext cx="1343578" cy="656468"/>
          </a:xfrm>
          <a:prstGeom prst="rect">
            <a:avLst/>
          </a:prstGeom>
        </p:spPr>
      </p:pic>
      <p:sp>
        <p:nvSpPr>
          <p:cNvPr id="23" name="Freeform: Shape 22">
            <a:extLst>
              <a:ext uri="{FF2B5EF4-FFF2-40B4-BE49-F238E27FC236}">
                <a16:creationId xmlns:a16="http://schemas.microsoft.com/office/drawing/2014/main" id="{1AA74B1E-A992-4C66-B743-B55BFEE3683B}"/>
              </a:ext>
            </a:extLst>
          </p:cNvPr>
          <p:cNvSpPr/>
          <p:nvPr userDrawn="1"/>
        </p:nvSpPr>
        <p:spPr>
          <a:xfrm rot="1160032">
            <a:off x="-879713" y="414719"/>
            <a:ext cx="3809127" cy="6721852"/>
          </a:xfrm>
          <a:custGeom>
            <a:avLst/>
            <a:gdLst>
              <a:gd name="connsiteX0" fmla="*/ 0 w 5078836"/>
              <a:gd name="connsiteY0" fmla="*/ 250607 h 6721852"/>
              <a:gd name="connsiteX1" fmla="*/ 714268 w 5078836"/>
              <a:gd name="connsiteY1" fmla="*/ 0 h 6721852"/>
              <a:gd name="connsiteX2" fmla="*/ 5060629 w 5078836"/>
              <a:gd name="connsiteY2" fmla="*/ 0 h 6721852"/>
              <a:gd name="connsiteX3" fmla="*/ 5078836 w 5078836"/>
              <a:gd name="connsiteY3" fmla="*/ 5736520 h 6721852"/>
              <a:gd name="connsiteX4" fmla="*/ 2270493 w 5078836"/>
              <a:gd name="connsiteY4" fmla="*/ 6721852 h 6721852"/>
              <a:gd name="connsiteX5" fmla="*/ 2161668 w 5078836"/>
              <a:gd name="connsiteY5" fmla="*/ 6411686 h 6721852"/>
              <a:gd name="connsiteX6" fmla="*/ 2292260 w 5078836"/>
              <a:gd name="connsiteY6" fmla="*/ 6411686 h 6721852"/>
              <a:gd name="connsiteX7" fmla="*/ 2691403 w 5078836"/>
              <a:gd name="connsiteY7" fmla="*/ 6012543 h 6721852"/>
              <a:gd name="connsiteX8" fmla="*/ 2292260 w 5078836"/>
              <a:gd name="connsiteY8" fmla="*/ 5613400 h 6721852"/>
              <a:gd name="connsiteX9" fmla="*/ 1881582 w 5078836"/>
              <a:gd name="connsiteY9" fmla="*/ 5613400 h 6721852"/>
              <a:gd name="connsiteX10" fmla="*/ 1708438 w 5078836"/>
              <a:gd name="connsiteY10" fmla="*/ 5119914 h 6721852"/>
              <a:gd name="connsiteX11" fmla="*/ 3045085 w 5078836"/>
              <a:gd name="connsiteY11" fmla="*/ 5119914 h 6721852"/>
              <a:gd name="connsiteX12" fmla="*/ 3444228 w 5078836"/>
              <a:gd name="connsiteY12" fmla="*/ 4720771 h 6721852"/>
              <a:gd name="connsiteX13" fmla="*/ 3045085 w 5078836"/>
              <a:gd name="connsiteY13" fmla="*/ 4321628 h 6721852"/>
              <a:gd name="connsiteX14" fmla="*/ 1428352 w 5078836"/>
              <a:gd name="connsiteY14" fmla="*/ 4321628 h 6721852"/>
              <a:gd name="connsiteX15" fmla="*/ 1255209 w 5078836"/>
              <a:gd name="connsiteY15" fmla="*/ 3828143 h 6721852"/>
              <a:gd name="connsiteX16" fmla="*/ 3959485 w 5078836"/>
              <a:gd name="connsiteY16" fmla="*/ 3828143 h 6721852"/>
              <a:gd name="connsiteX17" fmla="*/ 4358628 w 5078836"/>
              <a:gd name="connsiteY17" fmla="*/ 3429000 h 6721852"/>
              <a:gd name="connsiteX18" fmla="*/ 3959485 w 5078836"/>
              <a:gd name="connsiteY18" fmla="*/ 3029857 h 6721852"/>
              <a:gd name="connsiteX19" fmla="*/ 975123 w 5078836"/>
              <a:gd name="connsiteY19" fmla="*/ 3029857 h 6721852"/>
              <a:gd name="connsiteX20" fmla="*/ 801980 w 5078836"/>
              <a:gd name="connsiteY20" fmla="*/ 2536372 h 6721852"/>
              <a:gd name="connsiteX21" fmla="*/ 3045085 w 5078836"/>
              <a:gd name="connsiteY21" fmla="*/ 2536372 h 6721852"/>
              <a:gd name="connsiteX22" fmla="*/ 3444228 w 5078836"/>
              <a:gd name="connsiteY22" fmla="*/ 2137229 h 6721852"/>
              <a:gd name="connsiteX23" fmla="*/ 3045085 w 5078836"/>
              <a:gd name="connsiteY23" fmla="*/ 1738086 h 6721852"/>
              <a:gd name="connsiteX24" fmla="*/ 521894 w 5078836"/>
              <a:gd name="connsiteY24" fmla="*/ 1738086 h 6721852"/>
              <a:gd name="connsiteX25" fmla="*/ 348751 w 5078836"/>
              <a:gd name="connsiteY25" fmla="*/ 1244601 h 6721852"/>
              <a:gd name="connsiteX26" fmla="*/ 2292260 w 5078836"/>
              <a:gd name="connsiteY26" fmla="*/ 1244601 h 6721852"/>
              <a:gd name="connsiteX27" fmla="*/ 2691403 w 5078836"/>
              <a:gd name="connsiteY27" fmla="*/ 845458 h 6721852"/>
              <a:gd name="connsiteX28" fmla="*/ 2292260 w 5078836"/>
              <a:gd name="connsiteY28" fmla="*/ 446315 h 6721852"/>
              <a:gd name="connsiteX29" fmla="*/ 68665 w 5078836"/>
              <a:gd name="connsiteY29" fmla="*/ 446315 h 672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78836" h="6721852">
                <a:moveTo>
                  <a:pt x="0" y="250607"/>
                </a:moveTo>
                <a:lnTo>
                  <a:pt x="714268" y="0"/>
                </a:lnTo>
                <a:lnTo>
                  <a:pt x="5060629" y="0"/>
                </a:lnTo>
                <a:lnTo>
                  <a:pt x="5078836" y="5736520"/>
                </a:lnTo>
                <a:lnTo>
                  <a:pt x="2270493" y="6721852"/>
                </a:lnTo>
                <a:lnTo>
                  <a:pt x="2161668" y="6411686"/>
                </a:lnTo>
                <a:lnTo>
                  <a:pt x="2292260" y="6411686"/>
                </a:lnTo>
                <a:cubicBezTo>
                  <a:pt x="2512701" y="6411686"/>
                  <a:pt x="2691403" y="6232984"/>
                  <a:pt x="2691403" y="6012543"/>
                </a:cubicBezTo>
                <a:cubicBezTo>
                  <a:pt x="2691403" y="5792102"/>
                  <a:pt x="2512701" y="5613400"/>
                  <a:pt x="2292260" y="5613400"/>
                </a:cubicBezTo>
                <a:lnTo>
                  <a:pt x="1881582" y="5613400"/>
                </a:lnTo>
                <a:lnTo>
                  <a:pt x="1708438" y="5119914"/>
                </a:lnTo>
                <a:lnTo>
                  <a:pt x="3045085" y="5119914"/>
                </a:lnTo>
                <a:cubicBezTo>
                  <a:pt x="3265526" y="5119914"/>
                  <a:pt x="3444228" y="4941212"/>
                  <a:pt x="3444228" y="4720771"/>
                </a:cubicBezTo>
                <a:cubicBezTo>
                  <a:pt x="3444228" y="4500330"/>
                  <a:pt x="3265526" y="4321628"/>
                  <a:pt x="3045085" y="4321628"/>
                </a:cubicBezTo>
                <a:lnTo>
                  <a:pt x="1428352" y="4321628"/>
                </a:lnTo>
                <a:lnTo>
                  <a:pt x="1255209" y="3828143"/>
                </a:lnTo>
                <a:lnTo>
                  <a:pt x="3959485" y="3828143"/>
                </a:lnTo>
                <a:cubicBezTo>
                  <a:pt x="4179926" y="3828143"/>
                  <a:pt x="4358628" y="3649441"/>
                  <a:pt x="4358628" y="3429000"/>
                </a:cubicBezTo>
                <a:cubicBezTo>
                  <a:pt x="4358628" y="3208559"/>
                  <a:pt x="4179926" y="3029857"/>
                  <a:pt x="3959485" y="3029857"/>
                </a:cubicBezTo>
                <a:lnTo>
                  <a:pt x="975123" y="3029857"/>
                </a:lnTo>
                <a:lnTo>
                  <a:pt x="801980" y="2536372"/>
                </a:lnTo>
                <a:lnTo>
                  <a:pt x="3045085" y="2536372"/>
                </a:lnTo>
                <a:cubicBezTo>
                  <a:pt x="3265526" y="2536372"/>
                  <a:pt x="3444228" y="2357670"/>
                  <a:pt x="3444228" y="2137229"/>
                </a:cubicBezTo>
                <a:cubicBezTo>
                  <a:pt x="3444228" y="1916788"/>
                  <a:pt x="3265526" y="1738086"/>
                  <a:pt x="3045085" y="1738086"/>
                </a:cubicBezTo>
                <a:lnTo>
                  <a:pt x="521894" y="1738086"/>
                </a:lnTo>
                <a:lnTo>
                  <a:pt x="348751" y="1244601"/>
                </a:lnTo>
                <a:lnTo>
                  <a:pt x="2292260" y="1244601"/>
                </a:lnTo>
                <a:cubicBezTo>
                  <a:pt x="2512701" y="1244601"/>
                  <a:pt x="2691403" y="1065899"/>
                  <a:pt x="2691403" y="845458"/>
                </a:cubicBezTo>
                <a:cubicBezTo>
                  <a:pt x="2691403" y="625017"/>
                  <a:pt x="2512701" y="446315"/>
                  <a:pt x="2292260" y="446315"/>
                </a:cubicBezTo>
                <a:lnTo>
                  <a:pt x="68665" y="44631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TextBox 23">
            <a:extLst>
              <a:ext uri="{FF2B5EF4-FFF2-40B4-BE49-F238E27FC236}">
                <a16:creationId xmlns:a16="http://schemas.microsoft.com/office/drawing/2014/main" id="{4D323E5C-0904-4F7C-B2AF-7B32929C05D8}"/>
              </a:ext>
            </a:extLst>
          </p:cNvPr>
          <p:cNvSpPr txBox="1">
            <a:spLocks/>
          </p:cNvSpPr>
          <p:nvPr userDrawn="1"/>
        </p:nvSpPr>
        <p:spPr>
          <a:xfrm>
            <a:off x="4142826" y="2402573"/>
            <a:ext cx="4758289" cy="615553"/>
          </a:xfrm>
          <a:prstGeom prst="rect">
            <a:avLst/>
          </a:prstGeom>
          <a:noFill/>
        </p:spPr>
        <p:txBody>
          <a:bodyPr wrap="square" lIns="0" tIns="0" rIns="0" bIns="0" rtlCol="0">
            <a:spAutoFit/>
          </a:bodyPr>
          <a:lstStyle>
            <a:defPPr>
              <a:defRPr lang="en-US"/>
            </a:defPPr>
            <a:lvl1pPr>
              <a:defRPr sz="4800" b="1">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lvl1pPr>
          </a:lstStyle>
          <a:p>
            <a:pPr algn="r"/>
            <a:r>
              <a:rPr lang="en-US" sz="4000" dirty="0">
                <a:solidFill>
                  <a:schemeClr val="bg1"/>
                </a:solidFill>
                <a:latin typeface="+mn-lt"/>
              </a:rPr>
              <a:t>Title Text</a:t>
            </a:r>
          </a:p>
        </p:txBody>
      </p:sp>
      <p:sp>
        <p:nvSpPr>
          <p:cNvPr id="25" name="Rectangle 24">
            <a:extLst>
              <a:ext uri="{FF2B5EF4-FFF2-40B4-BE49-F238E27FC236}">
                <a16:creationId xmlns:a16="http://schemas.microsoft.com/office/drawing/2014/main" id="{D10C3BC4-8069-4C9A-881A-20BB4D6C82E6}"/>
              </a:ext>
            </a:extLst>
          </p:cNvPr>
          <p:cNvSpPr/>
          <p:nvPr userDrawn="1"/>
        </p:nvSpPr>
        <p:spPr>
          <a:xfrm>
            <a:off x="7329488" y="3174891"/>
            <a:ext cx="1571625" cy="148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26" name="TextBox 25">
            <a:extLst>
              <a:ext uri="{FF2B5EF4-FFF2-40B4-BE49-F238E27FC236}">
                <a16:creationId xmlns:a16="http://schemas.microsoft.com/office/drawing/2014/main" id="{BAE404A1-9093-47B0-9125-522300D46A12}"/>
              </a:ext>
            </a:extLst>
          </p:cNvPr>
          <p:cNvSpPr txBox="1">
            <a:spLocks/>
          </p:cNvSpPr>
          <p:nvPr userDrawn="1"/>
        </p:nvSpPr>
        <p:spPr>
          <a:xfrm>
            <a:off x="4142826" y="3479687"/>
            <a:ext cx="4758289"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spcBef>
                <a:spcPts val="0"/>
              </a:spcBef>
              <a:spcAft>
                <a:spcPts val="0"/>
              </a:spcAft>
              <a:buClr>
                <a:schemeClr val="bg1"/>
              </a:buClr>
            </a:pPr>
            <a:r>
              <a:rPr lang="en-US" sz="2800" baseline="0" dirty="0">
                <a:solidFill>
                  <a:schemeClr val="bg1"/>
                </a:solidFill>
              </a:rPr>
              <a:t>Sample  Text to be entered here</a:t>
            </a:r>
          </a:p>
        </p:txBody>
      </p:sp>
    </p:spTree>
    <p:extLst>
      <p:ext uri="{BB962C8B-B14F-4D97-AF65-F5344CB8AC3E}">
        <p14:creationId xmlns:p14="http://schemas.microsoft.com/office/powerpoint/2010/main" val="32033894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591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800" b="0" i="0" baseline="0" dirty="0">
              <a:latin typeface="Calibri Bold" panose="020F0702030404030204" pitchFamily="34" charset="0"/>
              <a:ea typeface="+mj-ea"/>
              <a:cs typeface="+mj-cs"/>
              <a:sym typeface="Calibri Bold" panose="020F0702030404030204" pitchFamily="34" charset="0"/>
            </a:endParaRPr>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177626" y="5981700"/>
            <a:ext cx="1108803" cy="541758"/>
          </a:xfrm>
          <a:prstGeom prst="rect">
            <a:avLst/>
          </a:prstGeom>
        </p:spPr>
      </p:pic>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4" name="TextBox 23">
            <a:extLst>
              <a:ext uri="{FF2B5EF4-FFF2-40B4-BE49-F238E27FC236}">
                <a16:creationId xmlns:a16="http://schemas.microsoft.com/office/drawing/2014/main" id="{E05AD644-F1A6-45F1-8781-61D2349CA989}"/>
              </a:ext>
            </a:extLst>
          </p:cNvPr>
          <p:cNvSpPr txBox="1"/>
          <p:nvPr userDrawn="1"/>
        </p:nvSpPr>
        <p:spPr>
          <a:xfrm>
            <a:off x="4505325" y="592822"/>
            <a:ext cx="4429126" cy="615553"/>
          </a:xfrm>
          <a:prstGeom prst="rect">
            <a:avLst/>
          </a:prstGeom>
          <a:noFill/>
        </p:spPr>
        <p:txBody>
          <a:bodyPr wrap="square" lIns="0" tIns="0" rIns="0" bIns="0" rtlCol="0">
            <a:spAutoFit/>
          </a:bodyPr>
          <a:lstStyle>
            <a:defPPr>
              <a:defRPr lang="en-US"/>
            </a:defPPr>
            <a:lvl1pPr>
              <a:defRPr sz="4800" b="1">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lvl1pPr>
          </a:lstStyle>
          <a:p>
            <a:pPr algn="r"/>
            <a:r>
              <a:rPr lang="en-US" sz="4000" dirty="0">
                <a:solidFill>
                  <a:schemeClr val="accent2"/>
                </a:solidFill>
                <a:latin typeface="+mn-lt"/>
              </a:rPr>
              <a:t>Title Text</a:t>
            </a:r>
          </a:p>
        </p:txBody>
      </p:sp>
      <p:sp>
        <p:nvSpPr>
          <p:cNvPr id="25" name="Rectangle 24">
            <a:extLst>
              <a:ext uri="{FF2B5EF4-FFF2-40B4-BE49-F238E27FC236}">
                <a16:creationId xmlns:a16="http://schemas.microsoft.com/office/drawing/2014/main" id="{FF69F1C0-5CEC-44C9-9D5D-7F98DF78F363}"/>
              </a:ext>
            </a:extLst>
          </p:cNvPr>
          <p:cNvSpPr/>
          <p:nvPr userDrawn="1"/>
        </p:nvSpPr>
        <p:spPr>
          <a:xfrm>
            <a:off x="7362827" y="1365141"/>
            <a:ext cx="1571625" cy="1480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extBox 25">
            <a:extLst>
              <a:ext uri="{FF2B5EF4-FFF2-40B4-BE49-F238E27FC236}">
                <a16:creationId xmlns:a16="http://schemas.microsoft.com/office/drawing/2014/main" id="{62903CC9-B254-4737-A2C3-B1F8C04CD642}"/>
              </a:ext>
            </a:extLst>
          </p:cNvPr>
          <p:cNvSpPr txBox="1"/>
          <p:nvPr userDrawn="1"/>
        </p:nvSpPr>
        <p:spPr>
          <a:xfrm>
            <a:off x="4505325" y="1669939"/>
            <a:ext cx="4429126" cy="77559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r"/>
            <a:r>
              <a:rPr lang="en-US" sz="2800" dirty="0"/>
              <a:t>Sample  Text to be entered here</a:t>
            </a:r>
          </a:p>
        </p:txBody>
      </p:sp>
      <p:sp>
        <p:nvSpPr>
          <p:cNvPr id="29" name="Freeform: Shape 28">
            <a:extLst>
              <a:ext uri="{FF2B5EF4-FFF2-40B4-BE49-F238E27FC236}">
                <a16:creationId xmlns:a16="http://schemas.microsoft.com/office/drawing/2014/main" id="{12AA4170-E437-49BB-903F-DA17053F3730}"/>
              </a:ext>
            </a:extLst>
          </p:cNvPr>
          <p:cNvSpPr>
            <a:spLocks/>
          </p:cNvSpPr>
          <p:nvPr userDrawn="1"/>
        </p:nvSpPr>
        <p:spPr>
          <a:xfrm>
            <a:off x="1" y="0"/>
            <a:ext cx="4818290" cy="6858000"/>
          </a:xfrm>
          <a:custGeom>
            <a:avLst/>
            <a:gdLst>
              <a:gd name="connsiteX0" fmla="*/ 0 w 6424387"/>
              <a:gd name="connsiteY0" fmla="*/ 0 h 6724650"/>
              <a:gd name="connsiteX1" fmla="*/ 6424387 w 6424387"/>
              <a:gd name="connsiteY1" fmla="*/ 0 h 6724650"/>
              <a:gd name="connsiteX2" fmla="*/ 3351698 w 6424387"/>
              <a:gd name="connsiteY2" fmla="*/ 5432701 h 6724650"/>
              <a:gd name="connsiteX3" fmla="*/ 2918657 w 6424387"/>
              <a:gd name="connsiteY3" fmla="*/ 5275575 h 6724650"/>
              <a:gd name="connsiteX4" fmla="*/ 3041045 w 6424387"/>
              <a:gd name="connsiteY4" fmla="*/ 5981955 h 6724650"/>
              <a:gd name="connsiteX5" fmla="*/ 2620983 w 6424387"/>
              <a:gd name="connsiteY5" fmla="*/ 6724650 h 6724650"/>
              <a:gd name="connsiteX6" fmla="*/ 2470140 w 6424387"/>
              <a:gd name="connsiteY6" fmla="*/ 6724650 h 6724650"/>
              <a:gd name="connsiteX7" fmla="*/ 0 w 6424387"/>
              <a:gd name="connsiteY7" fmla="*/ 2357294 h 6724650"/>
              <a:gd name="connsiteX8" fmla="*/ 0 w 6424387"/>
              <a:gd name="connsiteY8" fmla="*/ 0 h 672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24387" h="6724650">
                <a:moveTo>
                  <a:pt x="0" y="0"/>
                </a:moveTo>
                <a:lnTo>
                  <a:pt x="6424387" y="0"/>
                </a:lnTo>
                <a:lnTo>
                  <a:pt x="3351698" y="5432701"/>
                </a:lnTo>
                <a:lnTo>
                  <a:pt x="2918657" y="5275575"/>
                </a:lnTo>
                <a:lnTo>
                  <a:pt x="3041045" y="5981955"/>
                </a:lnTo>
                <a:lnTo>
                  <a:pt x="2620983" y="6724650"/>
                </a:lnTo>
                <a:lnTo>
                  <a:pt x="2470140" y="6724650"/>
                </a:lnTo>
                <a:lnTo>
                  <a:pt x="0" y="23572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Isosceles Triangle 30">
            <a:extLst>
              <a:ext uri="{FF2B5EF4-FFF2-40B4-BE49-F238E27FC236}">
                <a16:creationId xmlns:a16="http://schemas.microsoft.com/office/drawing/2014/main" id="{6CF76025-496B-40F0-AF4C-2E7DF08A1564}"/>
              </a:ext>
            </a:extLst>
          </p:cNvPr>
          <p:cNvSpPr/>
          <p:nvPr userDrawn="1"/>
        </p:nvSpPr>
        <p:spPr>
          <a:xfrm rot="19203403">
            <a:off x="2033153" y="5319030"/>
            <a:ext cx="795528" cy="914400"/>
          </a:xfrm>
          <a:prstGeom prst="triangle">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413788" y="560065"/>
            <a:ext cx="3572426"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defRPr lang="en-US" sz="4800" dirty="0">
                <a:solidFill>
                  <a:schemeClr val="bg1"/>
                </a:solidFill>
              </a:defRPr>
            </a:lvl1pPr>
          </a:lstStyle>
          <a:p>
            <a:pPr marL="0" lvl="0">
              <a:spcBef>
                <a:spcPts val="0"/>
              </a:spcBef>
            </a:pPr>
            <a:r>
              <a:rPr lang="en-US" dirty="0"/>
              <a:t>Slide title </a:t>
            </a:r>
          </a:p>
        </p:txBody>
      </p:sp>
    </p:spTree>
    <p:extLst>
      <p:ext uri="{BB962C8B-B14F-4D97-AF65-F5344CB8AC3E}">
        <p14:creationId xmlns:p14="http://schemas.microsoft.com/office/powerpoint/2010/main" val="11231975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6934"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08BA4E9A-AA20-4054-B53F-E6C45034F572}" type="datetimeFigureOut">
              <a:rPr lang="en-US" smtClean="0"/>
              <a:pPr/>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1771650" y="7764415"/>
            <a:ext cx="4114800" cy="13295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Rectangle 35">
            <a:extLst>
              <a:ext uri="{FF2B5EF4-FFF2-40B4-BE49-F238E27FC236}">
                <a16:creationId xmlns:a16="http://schemas.microsoft.com/office/drawing/2014/main" id="{87707435-6340-487D-B774-7D43E23A1599}"/>
              </a:ext>
            </a:extLst>
          </p:cNvPr>
          <p:cNvSpPr/>
          <p:nvPr userDrawn="1"/>
        </p:nvSpPr>
        <p:spPr>
          <a:xfrm>
            <a:off x="0" y="1"/>
            <a:ext cx="9144000" cy="3695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8" name="Title 4">
            <a:extLst>
              <a:ext uri="{FF2B5EF4-FFF2-40B4-BE49-F238E27FC236}">
                <a16:creationId xmlns:a16="http://schemas.microsoft.com/office/drawing/2014/main" id="{93586780-DD2C-48E2-B208-BDEFE1963324}"/>
              </a:ext>
            </a:extLst>
          </p:cNvPr>
          <p:cNvSpPr txBox="1">
            <a:spLocks/>
          </p:cNvSpPr>
          <p:nvPr userDrawn="1"/>
        </p:nvSpPr>
        <p:spPr>
          <a:xfrm>
            <a:off x="671237" y="1205983"/>
            <a:ext cx="7801527" cy="4431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3200" dirty="0">
                <a:solidFill>
                  <a:schemeClr val="bg1"/>
                </a:solidFill>
              </a:rPr>
              <a:t>Title Text</a:t>
            </a:r>
          </a:p>
        </p:txBody>
      </p:sp>
      <p:sp>
        <p:nvSpPr>
          <p:cNvPr id="40" name="TextBox 39">
            <a:extLst>
              <a:ext uri="{FF2B5EF4-FFF2-40B4-BE49-F238E27FC236}">
                <a16:creationId xmlns:a16="http://schemas.microsoft.com/office/drawing/2014/main" id="{54C04B48-F1A7-4EC4-8C3F-3499D53511B2}"/>
              </a:ext>
            </a:extLst>
          </p:cNvPr>
          <p:cNvSpPr txBox="1">
            <a:spLocks/>
          </p:cNvSpPr>
          <p:nvPr userDrawn="1"/>
        </p:nvSpPr>
        <p:spPr>
          <a:xfrm>
            <a:off x="671237" y="2087337"/>
            <a:ext cx="7801527"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1600" dirty="0">
                <a:solidFill>
                  <a:schemeClr val="bg1"/>
                </a:solidFill>
              </a:rPr>
              <a:t>Text </a:t>
            </a:r>
          </a:p>
        </p:txBody>
      </p:sp>
      <p:grpSp>
        <p:nvGrpSpPr>
          <p:cNvPr id="9" name="Group 8">
            <a:extLst>
              <a:ext uri="{FF2B5EF4-FFF2-40B4-BE49-F238E27FC236}">
                <a16:creationId xmlns:a16="http://schemas.microsoft.com/office/drawing/2014/main" id="{E735397E-57FD-4393-B216-3CAD8418A6E0}"/>
              </a:ext>
            </a:extLst>
          </p:cNvPr>
          <p:cNvGrpSpPr/>
          <p:nvPr userDrawn="1"/>
        </p:nvGrpSpPr>
        <p:grpSpPr>
          <a:xfrm>
            <a:off x="335149" y="2904032"/>
            <a:ext cx="1956668" cy="2285496"/>
            <a:chOff x="808200" y="2904031"/>
            <a:chExt cx="2608891" cy="2285496"/>
          </a:xfrm>
        </p:grpSpPr>
        <p:sp>
          <p:nvSpPr>
            <p:cNvPr id="41" name="Oval 40">
              <a:extLst>
                <a:ext uri="{FF2B5EF4-FFF2-40B4-BE49-F238E27FC236}">
                  <a16:creationId xmlns:a16="http://schemas.microsoft.com/office/drawing/2014/main" id="{20EDE70F-EB70-4D0A-A853-B61605273EE8}"/>
                </a:ext>
              </a:extLst>
            </p:cNvPr>
            <p:cNvSpPr/>
            <p:nvPr userDrawn="1"/>
          </p:nvSpPr>
          <p:spPr>
            <a:xfrm>
              <a:off x="130268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2.05B</a:t>
              </a:r>
            </a:p>
            <a:p>
              <a:pPr algn="ctr"/>
              <a:r>
                <a:rPr lang="en-IN" sz="2000" dirty="0">
                  <a:latin typeface="+mn-lt"/>
                </a:rPr>
                <a:t>…</a:t>
              </a:r>
            </a:p>
          </p:txBody>
        </p:sp>
        <p:sp>
          <p:nvSpPr>
            <p:cNvPr id="51" name="TextBox 50">
              <a:extLst>
                <a:ext uri="{FF2B5EF4-FFF2-40B4-BE49-F238E27FC236}">
                  <a16:creationId xmlns:a16="http://schemas.microsoft.com/office/drawing/2014/main" id="{B00B1222-92DF-4916-8FD5-DF48850B3A4F}"/>
                </a:ext>
              </a:extLst>
            </p:cNvPr>
            <p:cNvSpPr txBox="1"/>
            <p:nvPr userDrawn="1"/>
          </p:nvSpPr>
          <p:spPr>
            <a:xfrm>
              <a:off x="808200"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15" name="Group 14">
            <a:extLst>
              <a:ext uri="{FF2B5EF4-FFF2-40B4-BE49-F238E27FC236}">
                <a16:creationId xmlns:a16="http://schemas.microsoft.com/office/drawing/2014/main" id="{142FC6A6-77DD-4A96-8604-5C6B2725B1C0}"/>
              </a:ext>
            </a:extLst>
          </p:cNvPr>
          <p:cNvGrpSpPr/>
          <p:nvPr userDrawn="1"/>
        </p:nvGrpSpPr>
        <p:grpSpPr>
          <a:xfrm>
            <a:off x="2507494" y="2904032"/>
            <a:ext cx="1956668" cy="2285496"/>
            <a:chOff x="3463769" y="2904031"/>
            <a:chExt cx="2608891" cy="2285496"/>
          </a:xfrm>
        </p:grpSpPr>
        <p:sp>
          <p:nvSpPr>
            <p:cNvPr id="48" name="Oval 47">
              <a:extLst>
                <a:ext uri="{FF2B5EF4-FFF2-40B4-BE49-F238E27FC236}">
                  <a16:creationId xmlns:a16="http://schemas.microsoft.com/office/drawing/2014/main" id="{AE752A43-CCA4-49A4-BA0B-CB29FDE0F4BE}"/>
                </a:ext>
              </a:extLst>
            </p:cNvPr>
            <p:cNvSpPr/>
            <p:nvPr userDrawn="1"/>
          </p:nvSpPr>
          <p:spPr>
            <a:xfrm>
              <a:off x="395825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452M</a:t>
              </a:r>
            </a:p>
            <a:p>
              <a:pPr algn="ctr"/>
              <a:r>
                <a:rPr lang="en-IN" sz="2800" dirty="0">
                  <a:latin typeface="+mn-lt"/>
                </a:rPr>
                <a:t>…</a:t>
              </a:r>
            </a:p>
          </p:txBody>
        </p:sp>
        <p:sp>
          <p:nvSpPr>
            <p:cNvPr id="52" name="TextBox 51">
              <a:extLst>
                <a:ext uri="{FF2B5EF4-FFF2-40B4-BE49-F238E27FC236}">
                  <a16:creationId xmlns:a16="http://schemas.microsoft.com/office/drawing/2014/main" id="{0AF9B208-B0CD-4697-9179-93AE52570785}"/>
                </a:ext>
              </a:extLst>
            </p:cNvPr>
            <p:cNvSpPr txBox="1"/>
            <p:nvPr userDrawn="1"/>
          </p:nvSpPr>
          <p:spPr>
            <a:xfrm>
              <a:off x="3463769"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16" name="Group 15">
            <a:extLst>
              <a:ext uri="{FF2B5EF4-FFF2-40B4-BE49-F238E27FC236}">
                <a16:creationId xmlns:a16="http://schemas.microsoft.com/office/drawing/2014/main" id="{D21D24A7-8E1F-414A-BAA7-44F6EEF21AE3}"/>
              </a:ext>
            </a:extLst>
          </p:cNvPr>
          <p:cNvGrpSpPr/>
          <p:nvPr userDrawn="1"/>
        </p:nvGrpSpPr>
        <p:grpSpPr>
          <a:xfrm>
            <a:off x="4679839" y="2904032"/>
            <a:ext cx="1956668" cy="2285496"/>
            <a:chOff x="6119340" y="2904031"/>
            <a:chExt cx="2608891" cy="2285496"/>
          </a:xfrm>
        </p:grpSpPr>
        <p:sp>
          <p:nvSpPr>
            <p:cNvPr id="49" name="Oval 48">
              <a:extLst>
                <a:ext uri="{FF2B5EF4-FFF2-40B4-BE49-F238E27FC236}">
                  <a16:creationId xmlns:a16="http://schemas.microsoft.com/office/drawing/2014/main" id="{BB1168E8-2C75-402B-B8D1-790FBC9A0D4B}"/>
                </a:ext>
              </a:extLst>
            </p:cNvPr>
            <p:cNvSpPr/>
            <p:nvPr userDrawn="1"/>
          </p:nvSpPr>
          <p:spPr>
            <a:xfrm>
              <a:off x="661382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797M</a:t>
              </a:r>
            </a:p>
            <a:p>
              <a:pPr algn="ctr"/>
              <a:r>
                <a:rPr lang="en-IN" sz="2800" dirty="0">
                  <a:latin typeface="+mn-lt"/>
                </a:rPr>
                <a:t>…</a:t>
              </a:r>
            </a:p>
          </p:txBody>
        </p:sp>
        <p:sp>
          <p:nvSpPr>
            <p:cNvPr id="53" name="TextBox 52">
              <a:extLst>
                <a:ext uri="{FF2B5EF4-FFF2-40B4-BE49-F238E27FC236}">
                  <a16:creationId xmlns:a16="http://schemas.microsoft.com/office/drawing/2014/main" id="{56B9A0AC-BDA2-4C1B-8E59-20D469EAA72C}"/>
                </a:ext>
              </a:extLst>
            </p:cNvPr>
            <p:cNvSpPr txBox="1"/>
            <p:nvPr userDrawn="1"/>
          </p:nvSpPr>
          <p:spPr>
            <a:xfrm>
              <a:off x="6119340"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grpSp>
        <p:nvGrpSpPr>
          <p:cNvPr id="3" name="Group 2">
            <a:extLst>
              <a:ext uri="{FF2B5EF4-FFF2-40B4-BE49-F238E27FC236}">
                <a16:creationId xmlns:a16="http://schemas.microsoft.com/office/drawing/2014/main" id="{BF6DD82D-2611-49A1-9397-AB6CAEEB9F0A}"/>
              </a:ext>
            </a:extLst>
          </p:cNvPr>
          <p:cNvGrpSpPr/>
          <p:nvPr userDrawn="1"/>
        </p:nvGrpSpPr>
        <p:grpSpPr>
          <a:xfrm>
            <a:off x="6852184" y="2904032"/>
            <a:ext cx="1956668" cy="2285496"/>
            <a:chOff x="8774909" y="2904031"/>
            <a:chExt cx="2608891" cy="2285496"/>
          </a:xfrm>
        </p:grpSpPr>
        <p:sp>
          <p:nvSpPr>
            <p:cNvPr id="50" name="Oval 49">
              <a:extLst>
                <a:ext uri="{FF2B5EF4-FFF2-40B4-BE49-F238E27FC236}">
                  <a16:creationId xmlns:a16="http://schemas.microsoft.com/office/drawing/2014/main" id="{E10F9008-3B96-4FF2-8CE3-5208D10501DE}"/>
                </a:ext>
              </a:extLst>
            </p:cNvPr>
            <p:cNvSpPr/>
            <p:nvPr userDrawn="1"/>
          </p:nvSpPr>
          <p:spPr>
            <a:xfrm>
              <a:off x="9269398" y="2904031"/>
              <a:ext cx="1619915" cy="16199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IN" sz="2800" dirty="0">
                  <a:latin typeface="+mn-lt"/>
                </a:rPr>
                <a:t>$250M</a:t>
              </a:r>
            </a:p>
            <a:p>
              <a:pPr algn="ctr"/>
              <a:r>
                <a:rPr lang="en-IN" sz="2800" dirty="0">
                  <a:latin typeface="+mn-lt"/>
                </a:rPr>
                <a:t>…</a:t>
              </a:r>
            </a:p>
          </p:txBody>
        </p:sp>
        <p:sp>
          <p:nvSpPr>
            <p:cNvPr id="54" name="TextBox 53">
              <a:extLst>
                <a:ext uri="{FF2B5EF4-FFF2-40B4-BE49-F238E27FC236}">
                  <a16:creationId xmlns:a16="http://schemas.microsoft.com/office/drawing/2014/main" id="{DE1F8242-00AF-4FD1-98FD-50F6971C3D05}"/>
                </a:ext>
              </a:extLst>
            </p:cNvPr>
            <p:cNvSpPr txBox="1"/>
            <p:nvPr userDrawn="1"/>
          </p:nvSpPr>
          <p:spPr>
            <a:xfrm>
              <a:off x="8774909" y="4801729"/>
              <a:ext cx="2608891" cy="3877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IN" sz="2800" dirty="0">
                  <a:latin typeface="+mn-lt"/>
                </a:rPr>
                <a:t>…</a:t>
              </a:r>
            </a:p>
          </p:txBody>
        </p:sp>
      </p:grpSp>
      <p:sp>
        <p:nvSpPr>
          <p:cNvPr id="2" name="Title 1">
            <a:extLst>
              <a:ext uri="{FF2B5EF4-FFF2-40B4-BE49-F238E27FC236}">
                <a16:creationId xmlns:a16="http://schemas.microsoft.com/office/drawing/2014/main" id="{29449FE9-344E-427F-953D-D15DC98944F4}"/>
              </a:ext>
            </a:extLst>
          </p:cNvPr>
          <p:cNvSpPr>
            <a:spLocks noGrp="1"/>
          </p:cNvSpPr>
          <p:nvPr userDrawn="1">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bg1"/>
                </a:solidFill>
              </a:defRPr>
            </a:lvl1pPr>
          </a:lstStyle>
          <a:p>
            <a:pPr marL="0" lvl="0">
              <a:spcBef>
                <a:spcPts val="0"/>
              </a:spcBef>
            </a:pPr>
            <a:r>
              <a:rPr lang="en-US"/>
              <a:t>Click to edit Master title style</a:t>
            </a:r>
            <a:endParaRPr lang="en-US" dirty="0"/>
          </a:p>
        </p:txBody>
      </p: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lum bright="100000"/>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Tree>
    <p:extLst>
      <p:ext uri="{BB962C8B-B14F-4D97-AF65-F5344CB8AC3E}">
        <p14:creationId xmlns:p14="http://schemas.microsoft.com/office/powerpoint/2010/main" val="2942412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795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08BA4E9A-AA20-4054-B53F-E6C45034F572}" type="datetimeFigureOut">
              <a:rPr lang="en-US" smtClean="0"/>
              <a:pPr/>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23" name="Rectangle: Rounded Corners 22">
            <a:extLst>
              <a:ext uri="{FF2B5EF4-FFF2-40B4-BE49-F238E27FC236}">
                <a16:creationId xmlns:a16="http://schemas.microsoft.com/office/drawing/2014/main" id="{3BBEC2C8-DD43-4D8E-A1FF-A64630DBDAE2}"/>
              </a:ext>
            </a:extLst>
          </p:cNvPr>
          <p:cNvSpPr/>
          <p:nvPr userDrawn="1"/>
        </p:nvSpPr>
        <p:spPr>
          <a:xfrm>
            <a:off x="491631" y="1745345"/>
            <a:ext cx="2422312" cy="1806410"/>
          </a:xfrm>
          <a:prstGeom prst="round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Rounded Corners 23">
            <a:extLst>
              <a:ext uri="{FF2B5EF4-FFF2-40B4-BE49-F238E27FC236}">
                <a16:creationId xmlns:a16="http://schemas.microsoft.com/office/drawing/2014/main" id="{5557ECB1-1B4F-4D30-9C11-899DB2C8750A}"/>
              </a:ext>
            </a:extLst>
          </p:cNvPr>
          <p:cNvSpPr/>
          <p:nvPr userDrawn="1"/>
        </p:nvSpPr>
        <p:spPr>
          <a:xfrm>
            <a:off x="1299883" y="1317815"/>
            <a:ext cx="805813" cy="918521"/>
          </a:xfrm>
          <a:prstGeom prst="roundRect">
            <a:avLst>
              <a:gd name="adj" fmla="val 1078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TextBox 24">
            <a:extLst>
              <a:ext uri="{FF2B5EF4-FFF2-40B4-BE49-F238E27FC236}">
                <a16:creationId xmlns:a16="http://schemas.microsoft.com/office/drawing/2014/main" id="{B941E629-AFE7-435D-A42F-5CD54C529458}"/>
              </a:ext>
            </a:extLst>
          </p:cNvPr>
          <p:cNvSpPr txBox="1"/>
          <p:nvPr userDrawn="1"/>
        </p:nvSpPr>
        <p:spPr>
          <a:xfrm>
            <a:off x="1016353" y="2389905"/>
            <a:ext cx="1372868" cy="338554"/>
          </a:xfrm>
          <a:prstGeom prst="rect">
            <a:avLst/>
          </a:prstGeom>
          <a:noFill/>
        </p:spPr>
        <p:txBody>
          <a:bodyPr wrap="square" rtlCol="0">
            <a:spAutoFit/>
          </a:bodyPr>
          <a:lstStyle/>
          <a:p>
            <a:pPr algn="ctr"/>
            <a:r>
              <a:rPr lang="en-US" sz="1600" b="1" dirty="0">
                <a:solidFill>
                  <a:schemeClr val="tx2"/>
                </a:solidFill>
              </a:rPr>
              <a:t>Text </a:t>
            </a:r>
          </a:p>
        </p:txBody>
      </p:sp>
      <p:sp>
        <p:nvSpPr>
          <p:cNvPr id="26" name="TextBox 25">
            <a:extLst>
              <a:ext uri="{FF2B5EF4-FFF2-40B4-BE49-F238E27FC236}">
                <a16:creationId xmlns:a16="http://schemas.microsoft.com/office/drawing/2014/main" id="{0D175AD1-A64A-4EFF-BD8B-FF940EEA1A54}"/>
              </a:ext>
            </a:extLst>
          </p:cNvPr>
          <p:cNvSpPr txBox="1">
            <a:spLocks/>
          </p:cNvSpPr>
          <p:nvPr userDrawn="1"/>
        </p:nvSpPr>
        <p:spPr>
          <a:xfrm>
            <a:off x="631271"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27" name="Freeform 40">
            <a:extLst>
              <a:ext uri="{FF2B5EF4-FFF2-40B4-BE49-F238E27FC236}">
                <a16:creationId xmlns:a16="http://schemas.microsoft.com/office/drawing/2014/main" id="{B14EF1B0-3AB4-489A-83F6-09D149F68800}"/>
              </a:ext>
            </a:extLst>
          </p:cNvPr>
          <p:cNvSpPr>
            <a:spLocks noChangeArrowheads="1"/>
          </p:cNvSpPr>
          <p:nvPr userDrawn="1"/>
        </p:nvSpPr>
        <p:spPr bwMode="auto">
          <a:xfrm>
            <a:off x="1456571" y="1491354"/>
            <a:ext cx="492437" cy="571442"/>
          </a:xfrm>
          <a:custGeom>
            <a:avLst/>
            <a:gdLst>
              <a:gd name="T0" fmla="*/ 532 w 547"/>
              <a:gd name="T1" fmla="*/ 304 h 479"/>
              <a:gd name="T2" fmla="*/ 358 w 547"/>
              <a:gd name="T3" fmla="*/ 0 h 479"/>
              <a:gd name="T4" fmla="*/ 184 w 547"/>
              <a:gd name="T5" fmla="*/ 0 h 479"/>
              <a:gd name="T6" fmla="*/ 358 w 547"/>
              <a:gd name="T7" fmla="*/ 304 h 479"/>
              <a:gd name="T8" fmla="*/ 532 w 547"/>
              <a:gd name="T9" fmla="*/ 304 h 479"/>
              <a:gd name="T10" fmla="*/ 213 w 547"/>
              <a:gd name="T11" fmla="*/ 328 h 479"/>
              <a:gd name="T12" fmla="*/ 126 w 547"/>
              <a:gd name="T13" fmla="*/ 478 h 479"/>
              <a:gd name="T14" fmla="*/ 459 w 547"/>
              <a:gd name="T15" fmla="*/ 478 h 479"/>
              <a:gd name="T16" fmla="*/ 546 w 547"/>
              <a:gd name="T17" fmla="*/ 328 h 479"/>
              <a:gd name="T18" fmla="*/ 213 w 547"/>
              <a:gd name="T19" fmla="*/ 328 h 479"/>
              <a:gd name="T20" fmla="*/ 164 w 547"/>
              <a:gd name="T21" fmla="*/ 38 h 479"/>
              <a:gd name="T22" fmla="*/ 0 w 547"/>
              <a:gd name="T23" fmla="*/ 328 h 479"/>
              <a:gd name="T24" fmla="*/ 82 w 547"/>
              <a:gd name="T25" fmla="*/ 478 h 479"/>
              <a:gd name="T26" fmla="*/ 251 w 547"/>
              <a:gd name="T27" fmla="*/ 188 h 479"/>
              <a:gd name="T28" fmla="*/ 164 w 547"/>
              <a:gd name="T29" fmla="*/ 3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479">
                <a:moveTo>
                  <a:pt x="532" y="304"/>
                </a:moveTo>
                <a:lnTo>
                  <a:pt x="358" y="0"/>
                </a:lnTo>
                <a:lnTo>
                  <a:pt x="184" y="0"/>
                </a:lnTo>
                <a:lnTo>
                  <a:pt x="358" y="304"/>
                </a:lnTo>
                <a:lnTo>
                  <a:pt x="532" y="304"/>
                </a:lnTo>
                <a:close/>
                <a:moveTo>
                  <a:pt x="213" y="328"/>
                </a:moveTo>
                <a:lnTo>
                  <a:pt x="126" y="478"/>
                </a:lnTo>
                <a:lnTo>
                  <a:pt x="459" y="478"/>
                </a:lnTo>
                <a:lnTo>
                  <a:pt x="546" y="328"/>
                </a:lnTo>
                <a:lnTo>
                  <a:pt x="213" y="328"/>
                </a:lnTo>
                <a:close/>
                <a:moveTo>
                  <a:pt x="164" y="38"/>
                </a:moveTo>
                <a:lnTo>
                  <a:pt x="0" y="328"/>
                </a:lnTo>
                <a:lnTo>
                  <a:pt x="82" y="478"/>
                </a:lnTo>
                <a:lnTo>
                  <a:pt x="251" y="188"/>
                </a:lnTo>
                <a:lnTo>
                  <a:pt x="164" y="38"/>
                </a:lnTo>
                <a:close/>
              </a:path>
            </a:pathLst>
          </a:custGeom>
          <a:solidFill>
            <a:schemeClr val="bg1"/>
          </a:solidFill>
          <a:ln>
            <a:noFill/>
          </a:ln>
          <a:effectLst/>
        </p:spPr>
        <p:txBody>
          <a:bodyPr wrap="none" anchor="ctr"/>
          <a:lstStyle/>
          <a:p>
            <a:endParaRPr lang="en-US" sz="2592" dirty="0"/>
          </a:p>
        </p:txBody>
      </p:sp>
      <p:sp>
        <p:nvSpPr>
          <p:cNvPr id="28" name="Rectangle: Rounded Corners 27">
            <a:extLst>
              <a:ext uri="{FF2B5EF4-FFF2-40B4-BE49-F238E27FC236}">
                <a16:creationId xmlns:a16="http://schemas.microsoft.com/office/drawing/2014/main" id="{AEB24AE3-3B9D-4868-BD64-8FEF9C676015}"/>
              </a:ext>
            </a:extLst>
          </p:cNvPr>
          <p:cNvSpPr/>
          <p:nvPr userDrawn="1"/>
        </p:nvSpPr>
        <p:spPr>
          <a:xfrm>
            <a:off x="3360846" y="1745345"/>
            <a:ext cx="2422312" cy="1806410"/>
          </a:xfrm>
          <a:prstGeom prst="round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Rounded Corners 28">
            <a:extLst>
              <a:ext uri="{FF2B5EF4-FFF2-40B4-BE49-F238E27FC236}">
                <a16:creationId xmlns:a16="http://schemas.microsoft.com/office/drawing/2014/main" id="{17BB32F5-FE05-4834-9916-F3F574D9BDBE}"/>
              </a:ext>
            </a:extLst>
          </p:cNvPr>
          <p:cNvSpPr/>
          <p:nvPr userDrawn="1"/>
        </p:nvSpPr>
        <p:spPr>
          <a:xfrm>
            <a:off x="4169096" y="1317815"/>
            <a:ext cx="805813" cy="918521"/>
          </a:xfrm>
          <a:prstGeom prst="roundRect">
            <a:avLst>
              <a:gd name="adj" fmla="val 107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TextBox 29">
            <a:extLst>
              <a:ext uri="{FF2B5EF4-FFF2-40B4-BE49-F238E27FC236}">
                <a16:creationId xmlns:a16="http://schemas.microsoft.com/office/drawing/2014/main" id="{54FF360F-6052-40D8-8746-E43B2DB51EE8}"/>
              </a:ext>
            </a:extLst>
          </p:cNvPr>
          <p:cNvSpPr txBox="1"/>
          <p:nvPr userDrawn="1"/>
        </p:nvSpPr>
        <p:spPr>
          <a:xfrm>
            <a:off x="3885568" y="2389905"/>
            <a:ext cx="1372868" cy="338554"/>
          </a:xfrm>
          <a:prstGeom prst="rect">
            <a:avLst/>
          </a:prstGeom>
          <a:noFill/>
        </p:spPr>
        <p:txBody>
          <a:bodyPr wrap="square" rtlCol="0">
            <a:spAutoFit/>
          </a:bodyPr>
          <a:lstStyle/>
          <a:p>
            <a:pPr algn="ctr"/>
            <a:r>
              <a:rPr lang="en-US" sz="1600" b="1" dirty="0">
                <a:solidFill>
                  <a:schemeClr val="accent2"/>
                </a:solidFill>
              </a:rPr>
              <a:t>Text </a:t>
            </a:r>
          </a:p>
        </p:txBody>
      </p:sp>
      <p:sp>
        <p:nvSpPr>
          <p:cNvPr id="31" name="TextBox 30">
            <a:extLst>
              <a:ext uri="{FF2B5EF4-FFF2-40B4-BE49-F238E27FC236}">
                <a16:creationId xmlns:a16="http://schemas.microsoft.com/office/drawing/2014/main" id="{B3AC6E23-F3F8-4165-838B-07443468EC7C}"/>
              </a:ext>
            </a:extLst>
          </p:cNvPr>
          <p:cNvSpPr txBox="1">
            <a:spLocks/>
          </p:cNvSpPr>
          <p:nvPr userDrawn="1"/>
        </p:nvSpPr>
        <p:spPr>
          <a:xfrm>
            <a:off x="3500484"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32" name="Rectangle: Rounded Corners 31">
            <a:extLst>
              <a:ext uri="{FF2B5EF4-FFF2-40B4-BE49-F238E27FC236}">
                <a16:creationId xmlns:a16="http://schemas.microsoft.com/office/drawing/2014/main" id="{6D050274-8FC3-455D-9028-6209155A6A11}"/>
              </a:ext>
            </a:extLst>
          </p:cNvPr>
          <p:cNvSpPr/>
          <p:nvPr userDrawn="1"/>
        </p:nvSpPr>
        <p:spPr>
          <a:xfrm>
            <a:off x="6230058" y="1745345"/>
            <a:ext cx="2422312" cy="1806410"/>
          </a:xfrm>
          <a:prstGeom prst="round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Rounded Corners 32">
            <a:extLst>
              <a:ext uri="{FF2B5EF4-FFF2-40B4-BE49-F238E27FC236}">
                <a16:creationId xmlns:a16="http://schemas.microsoft.com/office/drawing/2014/main" id="{A5B27152-56FC-41D9-A5FB-16C956D0972A}"/>
              </a:ext>
            </a:extLst>
          </p:cNvPr>
          <p:cNvSpPr/>
          <p:nvPr userDrawn="1"/>
        </p:nvSpPr>
        <p:spPr>
          <a:xfrm>
            <a:off x="7038310" y="1317815"/>
            <a:ext cx="805813" cy="918521"/>
          </a:xfrm>
          <a:prstGeom prst="roundRect">
            <a:avLst>
              <a:gd name="adj" fmla="val 1078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TextBox 33">
            <a:extLst>
              <a:ext uri="{FF2B5EF4-FFF2-40B4-BE49-F238E27FC236}">
                <a16:creationId xmlns:a16="http://schemas.microsoft.com/office/drawing/2014/main" id="{182A55C1-D056-4548-9DD1-85640F15E6C9}"/>
              </a:ext>
            </a:extLst>
          </p:cNvPr>
          <p:cNvSpPr txBox="1"/>
          <p:nvPr userDrawn="1"/>
        </p:nvSpPr>
        <p:spPr>
          <a:xfrm>
            <a:off x="6754780" y="2389905"/>
            <a:ext cx="1372868" cy="338554"/>
          </a:xfrm>
          <a:prstGeom prst="rect">
            <a:avLst/>
          </a:prstGeom>
          <a:noFill/>
        </p:spPr>
        <p:txBody>
          <a:bodyPr wrap="square" rtlCol="0">
            <a:spAutoFit/>
          </a:bodyPr>
          <a:lstStyle/>
          <a:p>
            <a:pPr algn="ctr"/>
            <a:r>
              <a:rPr lang="en-US" sz="1600" b="1" dirty="0">
                <a:solidFill>
                  <a:schemeClr val="accent3"/>
                </a:solidFill>
              </a:rPr>
              <a:t>Text </a:t>
            </a:r>
          </a:p>
        </p:txBody>
      </p:sp>
      <p:sp>
        <p:nvSpPr>
          <p:cNvPr id="35" name="TextBox 34">
            <a:extLst>
              <a:ext uri="{FF2B5EF4-FFF2-40B4-BE49-F238E27FC236}">
                <a16:creationId xmlns:a16="http://schemas.microsoft.com/office/drawing/2014/main" id="{630BD6A8-FD74-43BA-B8B5-718A9F8688D4}"/>
              </a:ext>
            </a:extLst>
          </p:cNvPr>
          <p:cNvSpPr txBox="1">
            <a:spLocks/>
          </p:cNvSpPr>
          <p:nvPr userDrawn="1"/>
        </p:nvSpPr>
        <p:spPr>
          <a:xfrm>
            <a:off x="6369698" y="2943391"/>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36" name="Rectangle: Rounded Corners 35">
            <a:extLst>
              <a:ext uri="{FF2B5EF4-FFF2-40B4-BE49-F238E27FC236}">
                <a16:creationId xmlns:a16="http://schemas.microsoft.com/office/drawing/2014/main" id="{EE63C228-3402-458D-9C99-823B1C0AA9A0}"/>
              </a:ext>
            </a:extLst>
          </p:cNvPr>
          <p:cNvSpPr/>
          <p:nvPr userDrawn="1"/>
        </p:nvSpPr>
        <p:spPr>
          <a:xfrm>
            <a:off x="491631" y="4562116"/>
            <a:ext cx="2422312" cy="1806410"/>
          </a:xfrm>
          <a:prstGeom prst="round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Rectangle: Rounded Corners 36">
            <a:extLst>
              <a:ext uri="{FF2B5EF4-FFF2-40B4-BE49-F238E27FC236}">
                <a16:creationId xmlns:a16="http://schemas.microsoft.com/office/drawing/2014/main" id="{65E86A9E-3060-406C-A0A8-4E32FE9FFD35}"/>
              </a:ext>
            </a:extLst>
          </p:cNvPr>
          <p:cNvSpPr/>
          <p:nvPr userDrawn="1"/>
        </p:nvSpPr>
        <p:spPr>
          <a:xfrm>
            <a:off x="1299883" y="4134590"/>
            <a:ext cx="805813" cy="918521"/>
          </a:xfrm>
          <a:prstGeom prst="roundRect">
            <a:avLst>
              <a:gd name="adj" fmla="val 1078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TextBox 37">
            <a:extLst>
              <a:ext uri="{FF2B5EF4-FFF2-40B4-BE49-F238E27FC236}">
                <a16:creationId xmlns:a16="http://schemas.microsoft.com/office/drawing/2014/main" id="{21EDDD4D-4F11-4094-92DB-DA6E141F2A35}"/>
              </a:ext>
            </a:extLst>
          </p:cNvPr>
          <p:cNvSpPr txBox="1"/>
          <p:nvPr userDrawn="1"/>
        </p:nvSpPr>
        <p:spPr>
          <a:xfrm>
            <a:off x="1016353" y="5206676"/>
            <a:ext cx="1372868" cy="338554"/>
          </a:xfrm>
          <a:prstGeom prst="rect">
            <a:avLst/>
          </a:prstGeom>
          <a:noFill/>
        </p:spPr>
        <p:txBody>
          <a:bodyPr wrap="square" rtlCol="0">
            <a:spAutoFit/>
          </a:bodyPr>
          <a:lstStyle/>
          <a:p>
            <a:pPr algn="ctr"/>
            <a:r>
              <a:rPr lang="en-US" sz="1600" b="1" dirty="0">
                <a:solidFill>
                  <a:schemeClr val="accent4"/>
                </a:solidFill>
              </a:rPr>
              <a:t>Text </a:t>
            </a:r>
          </a:p>
        </p:txBody>
      </p:sp>
      <p:sp>
        <p:nvSpPr>
          <p:cNvPr id="40" name="TextBox 39">
            <a:extLst>
              <a:ext uri="{FF2B5EF4-FFF2-40B4-BE49-F238E27FC236}">
                <a16:creationId xmlns:a16="http://schemas.microsoft.com/office/drawing/2014/main" id="{49FE89C2-625D-468C-95E8-5E3217FAEC6E}"/>
              </a:ext>
            </a:extLst>
          </p:cNvPr>
          <p:cNvSpPr txBox="1">
            <a:spLocks/>
          </p:cNvSpPr>
          <p:nvPr userDrawn="1"/>
        </p:nvSpPr>
        <p:spPr>
          <a:xfrm>
            <a:off x="631271"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41" name="Rectangle: Rounded Corners 40">
            <a:extLst>
              <a:ext uri="{FF2B5EF4-FFF2-40B4-BE49-F238E27FC236}">
                <a16:creationId xmlns:a16="http://schemas.microsoft.com/office/drawing/2014/main" id="{EE9D6F5B-3A4A-44BC-9AEE-54FDE32F51D8}"/>
              </a:ext>
            </a:extLst>
          </p:cNvPr>
          <p:cNvSpPr/>
          <p:nvPr userDrawn="1"/>
        </p:nvSpPr>
        <p:spPr>
          <a:xfrm>
            <a:off x="3360846" y="4562116"/>
            <a:ext cx="2422312" cy="1806410"/>
          </a:xfrm>
          <a:prstGeom prst="roundRect">
            <a:avLst/>
          </a:prstGeom>
          <a:solidFill>
            <a:schemeClr val="bg1"/>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8" name="Rectangle: Rounded Corners 47">
            <a:extLst>
              <a:ext uri="{FF2B5EF4-FFF2-40B4-BE49-F238E27FC236}">
                <a16:creationId xmlns:a16="http://schemas.microsoft.com/office/drawing/2014/main" id="{9D9D862B-1D4B-4B33-B5FF-08F3725D5228}"/>
              </a:ext>
            </a:extLst>
          </p:cNvPr>
          <p:cNvSpPr/>
          <p:nvPr userDrawn="1"/>
        </p:nvSpPr>
        <p:spPr>
          <a:xfrm>
            <a:off x="4169096" y="4134590"/>
            <a:ext cx="805813" cy="918521"/>
          </a:xfrm>
          <a:prstGeom prst="roundRect">
            <a:avLst>
              <a:gd name="adj" fmla="val 1078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9" name="TextBox 48">
            <a:extLst>
              <a:ext uri="{FF2B5EF4-FFF2-40B4-BE49-F238E27FC236}">
                <a16:creationId xmlns:a16="http://schemas.microsoft.com/office/drawing/2014/main" id="{61846503-F772-49D7-9B01-69FD63B91B5B}"/>
              </a:ext>
            </a:extLst>
          </p:cNvPr>
          <p:cNvSpPr txBox="1"/>
          <p:nvPr userDrawn="1"/>
        </p:nvSpPr>
        <p:spPr>
          <a:xfrm>
            <a:off x="3885568" y="5206676"/>
            <a:ext cx="1372868" cy="338554"/>
          </a:xfrm>
          <a:prstGeom prst="rect">
            <a:avLst/>
          </a:prstGeom>
          <a:noFill/>
        </p:spPr>
        <p:txBody>
          <a:bodyPr wrap="square" rtlCol="0">
            <a:spAutoFit/>
          </a:bodyPr>
          <a:lstStyle/>
          <a:p>
            <a:pPr algn="ctr"/>
            <a:r>
              <a:rPr lang="en-US" sz="1600" b="1" dirty="0">
                <a:solidFill>
                  <a:schemeClr val="bg1">
                    <a:lumMod val="50000"/>
                  </a:schemeClr>
                </a:solidFill>
              </a:rPr>
              <a:t>Text </a:t>
            </a:r>
          </a:p>
        </p:txBody>
      </p:sp>
      <p:sp>
        <p:nvSpPr>
          <p:cNvPr id="50" name="TextBox 49">
            <a:extLst>
              <a:ext uri="{FF2B5EF4-FFF2-40B4-BE49-F238E27FC236}">
                <a16:creationId xmlns:a16="http://schemas.microsoft.com/office/drawing/2014/main" id="{9707A3AD-2C33-44C6-A717-3F8E1F3D40E4}"/>
              </a:ext>
            </a:extLst>
          </p:cNvPr>
          <p:cNvSpPr txBox="1">
            <a:spLocks/>
          </p:cNvSpPr>
          <p:nvPr userDrawn="1"/>
        </p:nvSpPr>
        <p:spPr>
          <a:xfrm>
            <a:off x="3500484"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51" name="Rectangle: Rounded Corners 50">
            <a:extLst>
              <a:ext uri="{FF2B5EF4-FFF2-40B4-BE49-F238E27FC236}">
                <a16:creationId xmlns:a16="http://schemas.microsoft.com/office/drawing/2014/main" id="{F52F291F-DB12-469E-8EFF-E8CEA714ED87}"/>
              </a:ext>
            </a:extLst>
          </p:cNvPr>
          <p:cNvSpPr/>
          <p:nvPr userDrawn="1"/>
        </p:nvSpPr>
        <p:spPr>
          <a:xfrm>
            <a:off x="6230058" y="4562116"/>
            <a:ext cx="2422312" cy="1806410"/>
          </a:xfrm>
          <a:prstGeom prst="roundRect">
            <a:avLst/>
          </a:prstGeom>
          <a:solidFill>
            <a:schemeClr val="bg1"/>
          </a:solid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2" name="Rectangle: Rounded Corners 51">
            <a:extLst>
              <a:ext uri="{FF2B5EF4-FFF2-40B4-BE49-F238E27FC236}">
                <a16:creationId xmlns:a16="http://schemas.microsoft.com/office/drawing/2014/main" id="{D972DE3B-1A66-43B2-A0F1-6EAE948D75D1}"/>
              </a:ext>
            </a:extLst>
          </p:cNvPr>
          <p:cNvSpPr/>
          <p:nvPr userDrawn="1"/>
        </p:nvSpPr>
        <p:spPr>
          <a:xfrm>
            <a:off x="7038310" y="4134590"/>
            <a:ext cx="805813" cy="918521"/>
          </a:xfrm>
          <a:prstGeom prst="roundRect">
            <a:avLst>
              <a:gd name="adj" fmla="val 10785"/>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3" name="TextBox 52">
            <a:extLst>
              <a:ext uri="{FF2B5EF4-FFF2-40B4-BE49-F238E27FC236}">
                <a16:creationId xmlns:a16="http://schemas.microsoft.com/office/drawing/2014/main" id="{70C1009D-1504-430A-B8EA-662AF006F0BC}"/>
              </a:ext>
            </a:extLst>
          </p:cNvPr>
          <p:cNvSpPr txBox="1"/>
          <p:nvPr userDrawn="1"/>
        </p:nvSpPr>
        <p:spPr>
          <a:xfrm>
            <a:off x="6754780" y="5206676"/>
            <a:ext cx="1372868" cy="338554"/>
          </a:xfrm>
          <a:prstGeom prst="rect">
            <a:avLst/>
          </a:prstGeom>
          <a:noFill/>
        </p:spPr>
        <p:txBody>
          <a:bodyPr wrap="square" rtlCol="0">
            <a:spAutoFit/>
          </a:bodyPr>
          <a:lstStyle/>
          <a:p>
            <a:pPr algn="ctr"/>
            <a:r>
              <a:rPr lang="en-US" sz="1600" b="1" dirty="0">
                <a:solidFill>
                  <a:schemeClr val="accent5">
                    <a:lumMod val="75000"/>
                  </a:schemeClr>
                </a:solidFill>
              </a:rPr>
              <a:t>Text </a:t>
            </a:r>
          </a:p>
        </p:txBody>
      </p:sp>
      <p:sp>
        <p:nvSpPr>
          <p:cNvPr id="54" name="TextBox 53">
            <a:extLst>
              <a:ext uri="{FF2B5EF4-FFF2-40B4-BE49-F238E27FC236}">
                <a16:creationId xmlns:a16="http://schemas.microsoft.com/office/drawing/2014/main" id="{87B4DDF7-BA28-434C-8706-9203E8990665}"/>
              </a:ext>
            </a:extLst>
          </p:cNvPr>
          <p:cNvSpPr txBox="1"/>
          <p:nvPr userDrawn="1"/>
        </p:nvSpPr>
        <p:spPr>
          <a:xfrm>
            <a:off x="6369698" y="5760162"/>
            <a:ext cx="2143032"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indent="0">
              <a:lnSpc>
                <a:spcPct val="90000"/>
              </a:lnSpc>
              <a:spcBef>
                <a:spcPts val="1000"/>
              </a:spcBef>
              <a:buFont typeface="Arial" panose="020B0604020202020204" pitchFamily="34" charset="0"/>
              <a:buNone/>
              <a:defRPr lang="en-US" sz="1600" dirty="0"/>
            </a:lvl1pPr>
            <a:lvl2pPr marL="266700" lvl="1" indent="-266700">
              <a:lnSpc>
                <a:spcPct val="100000"/>
              </a:lnSpc>
              <a:spcBef>
                <a:spcPts val="0"/>
              </a:spcBef>
              <a:spcAft>
                <a:spcPts val="0"/>
              </a:spcAft>
              <a:buClr>
                <a:schemeClr val="accent2"/>
              </a:buClr>
              <a:buFont typeface="Abadi" panose="020B0604020104020204" pitchFamily="34" charset="0"/>
              <a:buChar char="›"/>
              <a:defRPr lang="en-US" baseline="0" dirty="0"/>
            </a:lvl2pPr>
            <a:lvl3pPr marL="681038" lvl="2" indent="-412750">
              <a:lnSpc>
                <a:spcPct val="100000"/>
              </a:lnSpc>
              <a:spcBef>
                <a:spcPts val="0"/>
              </a:spcBef>
              <a:spcAft>
                <a:spcPts val="0"/>
              </a:spcAft>
              <a:buClr>
                <a:schemeClr val="accent2"/>
              </a:buClr>
              <a:buFontTx/>
              <a:buChar char="–"/>
              <a:defRPr lang="en-US" baseline="0" dirty="0"/>
            </a:lvl3pPr>
            <a:lvl4pPr marL="1049338" lvl="3" indent="-358775">
              <a:lnSpc>
                <a:spcPct val="100000"/>
              </a:lnSpc>
              <a:spcBef>
                <a:spcPts val="0"/>
              </a:spcBef>
              <a:spcAft>
                <a:spcPts val="0"/>
              </a:spcAft>
              <a:buClr>
                <a:schemeClr val="accent2"/>
              </a:buClr>
              <a:buFont typeface="Arial" panose="020B0604020202020204" pitchFamily="34" charset="0"/>
              <a:buChar char="•"/>
              <a:defRPr lang="en-US" baseline="0" dirty="0"/>
            </a:lvl4pPr>
            <a:lvl5pPr marL="1416050" lvl="4" indent="-376238">
              <a:lnSpc>
                <a:spcPct val="100000"/>
              </a:lnSpc>
              <a:spcBef>
                <a:spcPts val="0"/>
              </a:spcBef>
              <a:spcAft>
                <a:spcPts val="0"/>
              </a:spcAft>
              <a:buClr>
                <a:schemeClr val="accent2"/>
              </a:buClr>
              <a:buFont typeface="Calibri" panose="020F0502020204030204" pitchFamily="34" charset="0"/>
              <a:buChar char="▫"/>
              <a:defRPr lang="en-US" baseline="0" dirty="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gn="ctr"/>
            <a:r>
              <a:rPr lang="en-US" sz="1600" dirty="0"/>
              <a:t>Text </a:t>
            </a:r>
          </a:p>
        </p:txBody>
      </p:sp>
      <p:sp>
        <p:nvSpPr>
          <p:cNvPr id="55" name="Freeform 40">
            <a:extLst>
              <a:ext uri="{FF2B5EF4-FFF2-40B4-BE49-F238E27FC236}">
                <a16:creationId xmlns:a16="http://schemas.microsoft.com/office/drawing/2014/main" id="{4CE24F1C-51FC-4596-B3D1-14E286390651}"/>
              </a:ext>
            </a:extLst>
          </p:cNvPr>
          <p:cNvSpPr>
            <a:spLocks noChangeArrowheads="1"/>
          </p:cNvSpPr>
          <p:nvPr userDrawn="1"/>
        </p:nvSpPr>
        <p:spPr bwMode="auto">
          <a:xfrm>
            <a:off x="7194998" y="4308125"/>
            <a:ext cx="492437" cy="571442"/>
          </a:xfrm>
          <a:custGeom>
            <a:avLst/>
            <a:gdLst>
              <a:gd name="T0" fmla="*/ 532 w 547"/>
              <a:gd name="T1" fmla="*/ 304 h 479"/>
              <a:gd name="T2" fmla="*/ 358 w 547"/>
              <a:gd name="T3" fmla="*/ 0 h 479"/>
              <a:gd name="T4" fmla="*/ 184 w 547"/>
              <a:gd name="T5" fmla="*/ 0 h 479"/>
              <a:gd name="T6" fmla="*/ 358 w 547"/>
              <a:gd name="T7" fmla="*/ 304 h 479"/>
              <a:gd name="T8" fmla="*/ 532 w 547"/>
              <a:gd name="T9" fmla="*/ 304 h 479"/>
              <a:gd name="T10" fmla="*/ 213 w 547"/>
              <a:gd name="T11" fmla="*/ 328 h 479"/>
              <a:gd name="T12" fmla="*/ 126 w 547"/>
              <a:gd name="T13" fmla="*/ 478 h 479"/>
              <a:gd name="T14" fmla="*/ 459 w 547"/>
              <a:gd name="T15" fmla="*/ 478 h 479"/>
              <a:gd name="T16" fmla="*/ 546 w 547"/>
              <a:gd name="T17" fmla="*/ 328 h 479"/>
              <a:gd name="T18" fmla="*/ 213 w 547"/>
              <a:gd name="T19" fmla="*/ 328 h 479"/>
              <a:gd name="T20" fmla="*/ 164 w 547"/>
              <a:gd name="T21" fmla="*/ 38 h 479"/>
              <a:gd name="T22" fmla="*/ 0 w 547"/>
              <a:gd name="T23" fmla="*/ 328 h 479"/>
              <a:gd name="T24" fmla="*/ 82 w 547"/>
              <a:gd name="T25" fmla="*/ 478 h 479"/>
              <a:gd name="T26" fmla="*/ 251 w 547"/>
              <a:gd name="T27" fmla="*/ 188 h 479"/>
              <a:gd name="T28" fmla="*/ 164 w 547"/>
              <a:gd name="T29" fmla="*/ 38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479">
                <a:moveTo>
                  <a:pt x="532" y="304"/>
                </a:moveTo>
                <a:lnTo>
                  <a:pt x="358" y="0"/>
                </a:lnTo>
                <a:lnTo>
                  <a:pt x="184" y="0"/>
                </a:lnTo>
                <a:lnTo>
                  <a:pt x="358" y="304"/>
                </a:lnTo>
                <a:lnTo>
                  <a:pt x="532" y="304"/>
                </a:lnTo>
                <a:close/>
                <a:moveTo>
                  <a:pt x="213" y="328"/>
                </a:moveTo>
                <a:lnTo>
                  <a:pt x="126" y="478"/>
                </a:lnTo>
                <a:lnTo>
                  <a:pt x="459" y="478"/>
                </a:lnTo>
                <a:lnTo>
                  <a:pt x="546" y="328"/>
                </a:lnTo>
                <a:lnTo>
                  <a:pt x="213" y="328"/>
                </a:lnTo>
                <a:close/>
                <a:moveTo>
                  <a:pt x="164" y="38"/>
                </a:moveTo>
                <a:lnTo>
                  <a:pt x="0" y="328"/>
                </a:lnTo>
                <a:lnTo>
                  <a:pt x="82" y="478"/>
                </a:lnTo>
                <a:lnTo>
                  <a:pt x="251" y="188"/>
                </a:lnTo>
                <a:lnTo>
                  <a:pt x="164" y="38"/>
                </a:lnTo>
                <a:close/>
              </a:path>
            </a:pathLst>
          </a:custGeom>
          <a:solidFill>
            <a:schemeClr val="bg1"/>
          </a:solidFill>
          <a:ln>
            <a:noFill/>
          </a:ln>
          <a:effectLst/>
        </p:spPr>
        <p:txBody>
          <a:bodyPr wrap="none" anchor="ctr"/>
          <a:lstStyle/>
          <a:p>
            <a:endParaRPr lang="en-US" sz="2592" dirty="0"/>
          </a:p>
        </p:txBody>
      </p:sp>
      <p:sp>
        <p:nvSpPr>
          <p:cNvPr id="56" name="Freeform 8">
            <a:extLst>
              <a:ext uri="{FF2B5EF4-FFF2-40B4-BE49-F238E27FC236}">
                <a16:creationId xmlns:a16="http://schemas.microsoft.com/office/drawing/2014/main" id="{A6009874-6BE0-42F2-A64F-A47B73BAE7DC}"/>
              </a:ext>
            </a:extLst>
          </p:cNvPr>
          <p:cNvSpPr>
            <a:spLocks noChangeArrowheads="1"/>
          </p:cNvSpPr>
          <p:nvPr userDrawn="1"/>
        </p:nvSpPr>
        <p:spPr bwMode="auto">
          <a:xfrm>
            <a:off x="4299162" y="1449371"/>
            <a:ext cx="545676" cy="655408"/>
          </a:xfrm>
          <a:custGeom>
            <a:avLst/>
            <a:gdLst>
              <a:gd name="T0" fmla="*/ 272 w 540"/>
              <a:gd name="T1" fmla="*/ 0 h 489"/>
              <a:gd name="T2" fmla="*/ 0 w 540"/>
              <a:gd name="T3" fmla="*/ 488 h 489"/>
              <a:gd name="T4" fmla="*/ 539 w 540"/>
              <a:gd name="T5" fmla="*/ 108 h 489"/>
              <a:gd name="T6" fmla="*/ 108 w 540"/>
              <a:gd name="T7" fmla="*/ 432 h 489"/>
              <a:gd name="T8" fmla="*/ 56 w 540"/>
              <a:gd name="T9" fmla="*/ 380 h 489"/>
              <a:gd name="T10" fmla="*/ 108 w 540"/>
              <a:gd name="T11" fmla="*/ 432 h 489"/>
              <a:gd name="T12" fmla="*/ 56 w 540"/>
              <a:gd name="T13" fmla="*/ 324 h 489"/>
              <a:gd name="T14" fmla="*/ 108 w 540"/>
              <a:gd name="T15" fmla="*/ 272 h 489"/>
              <a:gd name="T16" fmla="*/ 108 w 540"/>
              <a:gd name="T17" fmla="*/ 216 h 489"/>
              <a:gd name="T18" fmla="*/ 56 w 540"/>
              <a:gd name="T19" fmla="*/ 164 h 489"/>
              <a:gd name="T20" fmla="*/ 108 w 540"/>
              <a:gd name="T21" fmla="*/ 216 h 489"/>
              <a:gd name="T22" fmla="*/ 56 w 540"/>
              <a:gd name="T23" fmla="*/ 108 h 489"/>
              <a:gd name="T24" fmla="*/ 108 w 540"/>
              <a:gd name="T25" fmla="*/ 56 h 489"/>
              <a:gd name="T26" fmla="*/ 216 w 540"/>
              <a:gd name="T27" fmla="*/ 432 h 489"/>
              <a:gd name="T28" fmla="*/ 164 w 540"/>
              <a:gd name="T29" fmla="*/ 380 h 489"/>
              <a:gd name="T30" fmla="*/ 216 w 540"/>
              <a:gd name="T31" fmla="*/ 432 h 489"/>
              <a:gd name="T32" fmla="*/ 164 w 540"/>
              <a:gd name="T33" fmla="*/ 324 h 489"/>
              <a:gd name="T34" fmla="*/ 216 w 540"/>
              <a:gd name="T35" fmla="*/ 272 h 489"/>
              <a:gd name="T36" fmla="*/ 216 w 540"/>
              <a:gd name="T37" fmla="*/ 216 h 489"/>
              <a:gd name="T38" fmla="*/ 164 w 540"/>
              <a:gd name="T39" fmla="*/ 164 h 489"/>
              <a:gd name="T40" fmla="*/ 216 w 540"/>
              <a:gd name="T41" fmla="*/ 216 h 489"/>
              <a:gd name="T42" fmla="*/ 164 w 540"/>
              <a:gd name="T43" fmla="*/ 108 h 489"/>
              <a:gd name="T44" fmla="*/ 216 w 540"/>
              <a:gd name="T45" fmla="*/ 56 h 489"/>
              <a:gd name="T46" fmla="*/ 488 w 540"/>
              <a:gd name="T47" fmla="*/ 432 h 489"/>
              <a:gd name="T48" fmla="*/ 272 w 540"/>
              <a:gd name="T49" fmla="*/ 380 h 489"/>
              <a:gd name="T50" fmla="*/ 324 w 540"/>
              <a:gd name="T51" fmla="*/ 324 h 489"/>
              <a:gd name="T52" fmla="*/ 272 w 540"/>
              <a:gd name="T53" fmla="*/ 272 h 489"/>
              <a:gd name="T54" fmla="*/ 324 w 540"/>
              <a:gd name="T55" fmla="*/ 216 h 489"/>
              <a:gd name="T56" fmla="*/ 272 w 540"/>
              <a:gd name="T57" fmla="*/ 164 h 489"/>
              <a:gd name="T58" fmla="*/ 488 w 540"/>
              <a:gd name="T59" fmla="*/ 432 h 489"/>
              <a:gd name="T60" fmla="*/ 380 w 540"/>
              <a:gd name="T61" fmla="*/ 216 h 489"/>
              <a:gd name="T62" fmla="*/ 432 w 540"/>
              <a:gd name="T63" fmla="*/ 272 h 489"/>
              <a:gd name="T64" fmla="*/ 432 w 540"/>
              <a:gd name="T65" fmla="*/ 324 h 489"/>
              <a:gd name="T66" fmla="*/ 380 w 540"/>
              <a:gd name="T67" fmla="*/ 380 h 489"/>
              <a:gd name="T68" fmla="*/ 432 w 540"/>
              <a:gd name="T69" fmla="*/ 32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0" h="489">
                <a:moveTo>
                  <a:pt x="272" y="108"/>
                </a:moveTo>
                <a:lnTo>
                  <a:pt x="272" y="0"/>
                </a:lnTo>
                <a:lnTo>
                  <a:pt x="0" y="0"/>
                </a:lnTo>
                <a:lnTo>
                  <a:pt x="0" y="488"/>
                </a:lnTo>
                <a:lnTo>
                  <a:pt x="539" y="488"/>
                </a:lnTo>
                <a:lnTo>
                  <a:pt x="539" y="108"/>
                </a:lnTo>
                <a:lnTo>
                  <a:pt x="272" y="108"/>
                </a:lnTo>
                <a:close/>
                <a:moveTo>
                  <a:pt x="108" y="432"/>
                </a:moveTo>
                <a:lnTo>
                  <a:pt x="56" y="432"/>
                </a:lnTo>
                <a:lnTo>
                  <a:pt x="56" y="380"/>
                </a:lnTo>
                <a:lnTo>
                  <a:pt x="108" y="380"/>
                </a:lnTo>
                <a:lnTo>
                  <a:pt x="108" y="432"/>
                </a:lnTo>
                <a:close/>
                <a:moveTo>
                  <a:pt x="108" y="324"/>
                </a:moveTo>
                <a:lnTo>
                  <a:pt x="56" y="324"/>
                </a:lnTo>
                <a:lnTo>
                  <a:pt x="56" y="272"/>
                </a:lnTo>
                <a:lnTo>
                  <a:pt x="108" y="272"/>
                </a:lnTo>
                <a:lnTo>
                  <a:pt x="108" y="324"/>
                </a:lnTo>
                <a:close/>
                <a:moveTo>
                  <a:pt x="108" y="216"/>
                </a:moveTo>
                <a:lnTo>
                  <a:pt x="56" y="216"/>
                </a:lnTo>
                <a:lnTo>
                  <a:pt x="56" y="164"/>
                </a:lnTo>
                <a:lnTo>
                  <a:pt x="108" y="164"/>
                </a:lnTo>
                <a:lnTo>
                  <a:pt x="108" y="216"/>
                </a:lnTo>
                <a:close/>
                <a:moveTo>
                  <a:pt x="108" y="108"/>
                </a:moveTo>
                <a:lnTo>
                  <a:pt x="56" y="108"/>
                </a:lnTo>
                <a:lnTo>
                  <a:pt x="56" y="56"/>
                </a:lnTo>
                <a:lnTo>
                  <a:pt x="108" y="56"/>
                </a:lnTo>
                <a:lnTo>
                  <a:pt x="108" y="108"/>
                </a:lnTo>
                <a:close/>
                <a:moveTo>
                  <a:pt x="216" y="432"/>
                </a:moveTo>
                <a:lnTo>
                  <a:pt x="164" y="432"/>
                </a:lnTo>
                <a:lnTo>
                  <a:pt x="164" y="380"/>
                </a:lnTo>
                <a:lnTo>
                  <a:pt x="216" y="380"/>
                </a:lnTo>
                <a:lnTo>
                  <a:pt x="216" y="432"/>
                </a:lnTo>
                <a:close/>
                <a:moveTo>
                  <a:pt x="216" y="324"/>
                </a:moveTo>
                <a:lnTo>
                  <a:pt x="164" y="324"/>
                </a:lnTo>
                <a:lnTo>
                  <a:pt x="164" y="272"/>
                </a:lnTo>
                <a:lnTo>
                  <a:pt x="216" y="272"/>
                </a:lnTo>
                <a:lnTo>
                  <a:pt x="216" y="324"/>
                </a:lnTo>
                <a:close/>
                <a:moveTo>
                  <a:pt x="216" y="216"/>
                </a:moveTo>
                <a:lnTo>
                  <a:pt x="164" y="216"/>
                </a:lnTo>
                <a:lnTo>
                  <a:pt x="164" y="164"/>
                </a:lnTo>
                <a:lnTo>
                  <a:pt x="216" y="164"/>
                </a:lnTo>
                <a:lnTo>
                  <a:pt x="216" y="216"/>
                </a:lnTo>
                <a:close/>
                <a:moveTo>
                  <a:pt x="216" y="108"/>
                </a:moveTo>
                <a:lnTo>
                  <a:pt x="164" y="108"/>
                </a:lnTo>
                <a:lnTo>
                  <a:pt x="164" y="56"/>
                </a:lnTo>
                <a:lnTo>
                  <a:pt x="216" y="56"/>
                </a:lnTo>
                <a:lnTo>
                  <a:pt x="216" y="108"/>
                </a:lnTo>
                <a:close/>
                <a:moveTo>
                  <a:pt x="488" y="432"/>
                </a:moveTo>
                <a:lnTo>
                  <a:pt x="272" y="432"/>
                </a:lnTo>
                <a:lnTo>
                  <a:pt x="272" y="380"/>
                </a:lnTo>
                <a:lnTo>
                  <a:pt x="324" y="380"/>
                </a:lnTo>
                <a:lnTo>
                  <a:pt x="324" y="324"/>
                </a:lnTo>
                <a:lnTo>
                  <a:pt x="272" y="324"/>
                </a:lnTo>
                <a:lnTo>
                  <a:pt x="272" y="272"/>
                </a:lnTo>
                <a:lnTo>
                  <a:pt x="324" y="272"/>
                </a:lnTo>
                <a:lnTo>
                  <a:pt x="324" y="216"/>
                </a:lnTo>
                <a:lnTo>
                  <a:pt x="272" y="216"/>
                </a:lnTo>
                <a:lnTo>
                  <a:pt x="272" y="164"/>
                </a:lnTo>
                <a:lnTo>
                  <a:pt x="488" y="164"/>
                </a:lnTo>
                <a:lnTo>
                  <a:pt x="488" y="432"/>
                </a:lnTo>
                <a:close/>
                <a:moveTo>
                  <a:pt x="432" y="216"/>
                </a:moveTo>
                <a:lnTo>
                  <a:pt x="380" y="216"/>
                </a:lnTo>
                <a:lnTo>
                  <a:pt x="380" y="272"/>
                </a:lnTo>
                <a:lnTo>
                  <a:pt x="432" y="272"/>
                </a:lnTo>
                <a:lnTo>
                  <a:pt x="432" y="216"/>
                </a:lnTo>
                <a:close/>
                <a:moveTo>
                  <a:pt x="432" y="324"/>
                </a:moveTo>
                <a:lnTo>
                  <a:pt x="380" y="324"/>
                </a:lnTo>
                <a:lnTo>
                  <a:pt x="380" y="380"/>
                </a:lnTo>
                <a:lnTo>
                  <a:pt x="432" y="380"/>
                </a:lnTo>
                <a:lnTo>
                  <a:pt x="432" y="324"/>
                </a:lnTo>
                <a:close/>
              </a:path>
            </a:pathLst>
          </a:custGeom>
          <a:solidFill>
            <a:schemeClr val="bg1"/>
          </a:solidFill>
          <a:ln>
            <a:noFill/>
          </a:ln>
          <a:effectLst/>
        </p:spPr>
        <p:txBody>
          <a:bodyPr wrap="none" anchor="ctr"/>
          <a:lstStyle/>
          <a:p>
            <a:endParaRPr lang="en-US" sz="2592" dirty="0">
              <a:solidFill>
                <a:schemeClr val="bg1"/>
              </a:solidFill>
            </a:endParaRPr>
          </a:p>
        </p:txBody>
      </p:sp>
      <p:sp>
        <p:nvSpPr>
          <p:cNvPr id="57" name="Freeform 35">
            <a:extLst>
              <a:ext uri="{FF2B5EF4-FFF2-40B4-BE49-F238E27FC236}">
                <a16:creationId xmlns:a16="http://schemas.microsoft.com/office/drawing/2014/main" id="{05AD86D8-E9D5-4122-B05C-B523909F7620}"/>
              </a:ext>
            </a:extLst>
          </p:cNvPr>
          <p:cNvSpPr>
            <a:spLocks noChangeArrowheads="1"/>
          </p:cNvSpPr>
          <p:nvPr userDrawn="1"/>
        </p:nvSpPr>
        <p:spPr bwMode="auto">
          <a:xfrm>
            <a:off x="7196394" y="1456509"/>
            <a:ext cx="489640" cy="641130"/>
          </a:xfrm>
          <a:custGeom>
            <a:avLst/>
            <a:gdLst>
              <a:gd name="T0" fmla="*/ 267 w 541"/>
              <a:gd name="T1" fmla="*/ 0 h 540"/>
              <a:gd name="T2" fmla="*/ 0 w 541"/>
              <a:gd name="T3" fmla="*/ 272 h 540"/>
              <a:gd name="T4" fmla="*/ 267 w 541"/>
              <a:gd name="T5" fmla="*/ 539 h 540"/>
              <a:gd name="T6" fmla="*/ 540 w 541"/>
              <a:gd name="T7" fmla="*/ 272 h 540"/>
              <a:gd name="T8" fmla="*/ 267 w 541"/>
              <a:gd name="T9" fmla="*/ 0 h 540"/>
              <a:gd name="T10" fmla="*/ 242 w 541"/>
              <a:gd name="T11" fmla="*/ 483 h 540"/>
              <a:gd name="T12" fmla="*/ 52 w 541"/>
              <a:gd name="T13" fmla="*/ 272 h 540"/>
              <a:gd name="T14" fmla="*/ 57 w 541"/>
              <a:gd name="T15" fmla="*/ 221 h 540"/>
              <a:gd name="T16" fmla="*/ 190 w 541"/>
              <a:gd name="T17" fmla="*/ 349 h 540"/>
              <a:gd name="T18" fmla="*/ 190 w 541"/>
              <a:gd name="T19" fmla="*/ 375 h 540"/>
              <a:gd name="T20" fmla="*/ 242 w 541"/>
              <a:gd name="T21" fmla="*/ 431 h 540"/>
              <a:gd name="T22" fmla="*/ 242 w 541"/>
              <a:gd name="T23" fmla="*/ 483 h 540"/>
              <a:gd name="T24" fmla="*/ 427 w 541"/>
              <a:gd name="T25" fmla="*/ 416 h 540"/>
              <a:gd name="T26" fmla="*/ 375 w 541"/>
              <a:gd name="T27" fmla="*/ 375 h 540"/>
              <a:gd name="T28" fmla="*/ 350 w 541"/>
              <a:gd name="T29" fmla="*/ 375 h 540"/>
              <a:gd name="T30" fmla="*/ 350 w 541"/>
              <a:gd name="T31" fmla="*/ 298 h 540"/>
              <a:gd name="T32" fmla="*/ 324 w 541"/>
              <a:gd name="T33" fmla="*/ 272 h 540"/>
              <a:gd name="T34" fmla="*/ 160 w 541"/>
              <a:gd name="T35" fmla="*/ 272 h 540"/>
              <a:gd name="T36" fmla="*/ 160 w 541"/>
              <a:gd name="T37" fmla="*/ 215 h 540"/>
              <a:gd name="T38" fmla="*/ 216 w 541"/>
              <a:gd name="T39" fmla="*/ 215 h 540"/>
              <a:gd name="T40" fmla="*/ 242 w 541"/>
              <a:gd name="T41" fmla="*/ 190 h 540"/>
              <a:gd name="T42" fmla="*/ 242 w 541"/>
              <a:gd name="T43" fmla="*/ 133 h 540"/>
              <a:gd name="T44" fmla="*/ 293 w 541"/>
              <a:gd name="T45" fmla="*/ 133 h 540"/>
              <a:gd name="T46" fmla="*/ 350 w 541"/>
              <a:gd name="T47" fmla="*/ 82 h 540"/>
              <a:gd name="T48" fmla="*/ 350 w 541"/>
              <a:gd name="T49" fmla="*/ 72 h 540"/>
              <a:gd name="T50" fmla="*/ 483 w 541"/>
              <a:gd name="T51" fmla="*/ 272 h 540"/>
              <a:gd name="T52" fmla="*/ 427 w 541"/>
              <a:gd name="T53" fmla="*/ 416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540">
                <a:moveTo>
                  <a:pt x="267" y="0"/>
                </a:moveTo>
                <a:cubicBezTo>
                  <a:pt x="118" y="0"/>
                  <a:pt x="0" y="126"/>
                  <a:pt x="0" y="272"/>
                </a:cubicBezTo>
                <a:cubicBezTo>
                  <a:pt x="0" y="418"/>
                  <a:pt x="118" y="539"/>
                  <a:pt x="267" y="539"/>
                </a:cubicBezTo>
                <a:cubicBezTo>
                  <a:pt x="417" y="539"/>
                  <a:pt x="540" y="418"/>
                  <a:pt x="540" y="272"/>
                </a:cubicBezTo>
                <a:cubicBezTo>
                  <a:pt x="540" y="126"/>
                  <a:pt x="417" y="0"/>
                  <a:pt x="267" y="0"/>
                </a:cubicBezTo>
                <a:close/>
                <a:moveTo>
                  <a:pt x="242" y="483"/>
                </a:moveTo>
                <a:cubicBezTo>
                  <a:pt x="139" y="467"/>
                  <a:pt x="52" y="375"/>
                  <a:pt x="52" y="272"/>
                </a:cubicBezTo>
                <a:cubicBezTo>
                  <a:pt x="52" y="251"/>
                  <a:pt x="57" y="236"/>
                  <a:pt x="57" y="221"/>
                </a:cubicBezTo>
                <a:lnTo>
                  <a:pt x="190" y="349"/>
                </a:lnTo>
                <a:lnTo>
                  <a:pt x="190" y="375"/>
                </a:lnTo>
                <a:cubicBezTo>
                  <a:pt x="190" y="406"/>
                  <a:pt x="211" y="431"/>
                  <a:pt x="242" y="431"/>
                </a:cubicBezTo>
                <a:lnTo>
                  <a:pt x="242" y="483"/>
                </a:lnTo>
                <a:close/>
                <a:moveTo>
                  <a:pt x="427" y="416"/>
                </a:moveTo>
                <a:cubicBezTo>
                  <a:pt x="422" y="395"/>
                  <a:pt x="401" y="375"/>
                  <a:pt x="375" y="375"/>
                </a:cubicBezTo>
                <a:lnTo>
                  <a:pt x="350" y="375"/>
                </a:lnTo>
                <a:lnTo>
                  <a:pt x="350" y="298"/>
                </a:lnTo>
                <a:cubicBezTo>
                  <a:pt x="350" y="282"/>
                  <a:pt x="339" y="272"/>
                  <a:pt x="324" y="272"/>
                </a:cubicBezTo>
                <a:lnTo>
                  <a:pt x="160" y="272"/>
                </a:lnTo>
                <a:lnTo>
                  <a:pt x="160" y="215"/>
                </a:lnTo>
                <a:lnTo>
                  <a:pt x="216" y="215"/>
                </a:lnTo>
                <a:cubicBezTo>
                  <a:pt x="232" y="215"/>
                  <a:pt x="242" y="205"/>
                  <a:pt x="242" y="190"/>
                </a:cubicBezTo>
                <a:lnTo>
                  <a:pt x="242" y="133"/>
                </a:lnTo>
                <a:lnTo>
                  <a:pt x="293" y="133"/>
                </a:lnTo>
                <a:cubicBezTo>
                  <a:pt x="324" y="133"/>
                  <a:pt x="350" y="113"/>
                  <a:pt x="350" y="82"/>
                </a:cubicBezTo>
                <a:lnTo>
                  <a:pt x="350" y="72"/>
                </a:lnTo>
                <a:cubicBezTo>
                  <a:pt x="427" y="102"/>
                  <a:pt x="483" y="179"/>
                  <a:pt x="483" y="272"/>
                </a:cubicBezTo>
                <a:cubicBezTo>
                  <a:pt x="483" y="329"/>
                  <a:pt x="463" y="375"/>
                  <a:pt x="427" y="416"/>
                </a:cubicBezTo>
                <a:close/>
              </a:path>
            </a:pathLst>
          </a:custGeom>
          <a:solidFill>
            <a:schemeClr val="bg1"/>
          </a:solidFill>
          <a:ln>
            <a:noFill/>
          </a:ln>
          <a:effectLst/>
        </p:spPr>
        <p:txBody>
          <a:bodyPr wrap="none" anchor="ctr"/>
          <a:lstStyle/>
          <a:p>
            <a:endParaRPr lang="en-US" sz="2592" dirty="0"/>
          </a:p>
        </p:txBody>
      </p:sp>
      <p:sp>
        <p:nvSpPr>
          <p:cNvPr id="58" name="Freeform 36">
            <a:extLst>
              <a:ext uri="{FF2B5EF4-FFF2-40B4-BE49-F238E27FC236}">
                <a16:creationId xmlns:a16="http://schemas.microsoft.com/office/drawing/2014/main" id="{1BEF0673-926C-4EBE-B779-28877227A9A1}"/>
              </a:ext>
            </a:extLst>
          </p:cNvPr>
          <p:cNvSpPr>
            <a:spLocks noChangeArrowheads="1"/>
          </p:cNvSpPr>
          <p:nvPr userDrawn="1"/>
        </p:nvSpPr>
        <p:spPr bwMode="auto">
          <a:xfrm>
            <a:off x="1393564" y="4255692"/>
            <a:ext cx="618449" cy="676308"/>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chemeClr val="bg1"/>
          </a:solidFill>
          <a:ln>
            <a:noFill/>
          </a:ln>
          <a:effectLst/>
        </p:spPr>
        <p:txBody>
          <a:bodyPr wrap="none" anchor="ctr"/>
          <a:lstStyle/>
          <a:p>
            <a:endParaRPr lang="en-US" sz="2592" dirty="0"/>
          </a:p>
        </p:txBody>
      </p:sp>
      <p:sp>
        <p:nvSpPr>
          <p:cNvPr id="59" name="Freeform 48">
            <a:extLst>
              <a:ext uri="{FF2B5EF4-FFF2-40B4-BE49-F238E27FC236}">
                <a16:creationId xmlns:a16="http://schemas.microsoft.com/office/drawing/2014/main" id="{C2C928B7-2B00-4064-A883-4EBD5FAEDE2E}"/>
              </a:ext>
            </a:extLst>
          </p:cNvPr>
          <p:cNvSpPr>
            <a:spLocks noChangeArrowheads="1"/>
          </p:cNvSpPr>
          <p:nvPr userDrawn="1"/>
        </p:nvSpPr>
        <p:spPr bwMode="auto">
          <a:xfrm>
            <a:off x="4299741" y="4234429"/>
            <a:ext cx="544523" cy="718843"/>
          </a:xfrm>
          <a:custGeom>
            <a:avLst/>
            <a:gdLst>
              <a:gd name="T0" fmla="*/ 298 w 592"/>
              <a:gd name="T1" fmla="*/ 118 h 592"/>
              <a:gd name="T2" fmla="*/ 339 w 592"/>
              <a:gd name="T3" fmla="*/ 82 h 592"/>
              <a:gd name="T4" fmla="*/ 334 w 592"/>
              <a:gd name="T5" fmla="*/ 56 h 592"/>
              <a:gd name="T6" fmla="*/ 298 w 592"/>
              <a:gd name="T7" fmla="*/ 0 h 592"/>
              <a:gd name="T8" fmla="*/ 262 w 592"/>
              <a:gd name="T9" fmla="*/ 56 h 592"/>
              <a:gd name="T10" fmla="*/ 257 w 592"/>
              <a:gd name="T11" fmla="*/ 82 h 592"/>
              <a:gd name="T12" fmla="*/ 298 w 592"/>
              <a:gd name="T13" fmla="*/ 118 h 592"/>
              <a:gd name="T14" fmla="*/ 473 w 592"/>
              <a:gd name="T15" fmla="*/ 185 h 592"/>
              <a:gd name="T16" fmla="*/ 324 w 592"/>
              <a:gd name="T17" fmla="*/ 185 h 592"/>
              <a:gd name="T18" fmla="*/ 324 w 592"/>
              <a:gd name="T19" fmla="*/ 149 h 592"/>
              <a:gd name="T20" fmla="*/ 273 w 592"/>
              <a:gd name="T21" fmla="*/ 149 h 592"/>
              <a:gd name="T22" fmla="*/ 273 w 592"/>
              <a:gd name="T23" fmla="*/ 185 h 592"/>
              <a:gd name="T24" fmla="*/ 124 w 592"/>
              <a:gd name="T25" fmla="*/ 185 h 592"/>
              <a:gd name="T26" fmla="*/ 0 w 592"/>
              <a:gd name="T27" fmla="*/ 308 h 592"/>
              <a:gd name="T28" fmla="*/ 57 w 592"/>
              <a:gd name="T29" fmla="*/ 406 h 592"/>
              <a:gd name="T30" fmla="*/ 57 w 592"/>
              <a:gd name="T31" fmla="*/ 591 h 592"/>
              <a:gd name="T32" fmla="*/ 540 w 592"/>
              <a:gd name="T33" fmla="*/ 591 h 592"/>
              <a:gd name="T34" fmla="*/ 540 w 592"/>
              <a:gd name="T35" fmla="*/ 406 h 592"/>
              <a:gd name="T36" fmla="*/ 591 w 592"/>
              <a:gd name="T37" fmla="*/ 308 h 592"/>
              <a:gd name="T38" fmla="*/ 473 w 592"/>
              <a:gd name="T39" fmla="*/ 185 h 592"/>
              <a:gd name="T40" fmla="*/ 473 w 592"/>
              <a:gd name="T41" fmla="*/ 375 h 592"/>
              <a:gd name="T42" fmla="*/ 422 w 592"/>
              <a:gd name="T43" fmla="*/ 354 h 592"/>
              <a:gd name="T44" fmla="*/ 386 w 592"/>
              <a:gd name="T45" fmla="*/ 318 h 592"/>
              <a:gd name="T46" fmla="*/ 344 w 592"/>
              <a:gd name="T47" fmla="*/ 354 h 592"/>
              <a:gd name="T48" fmla="*/ 298 w 592"/>
              <a:gd name="T49" fmla="*/ 375 h 592"/>
              <a:gd name="T50" fmla="*/ 247 w 592"/>
              <a:gd name="T51" fmla="*/ 354 h 592"/>
              <a:gd name="T52" fmla="*/ 211 w 592"/>
              <a:gd name="T53" fmla="*/ 318 h 592"/>
              <a:gd name="T54" fmla="*/ 170 w 592"/>
              <a:gd name="T55" fmla="*/ 354 h 592"/>
              <a:gd name="T56" fmla="*/ 124 w 592"/>
              <a:gd name="T57" fmla="*/ 375 h 592"/>
              <a:gd name="T58" fmla="*/ 57 w 592"/>
              <a:gd name="T59" fmla="*/ 308 h 592"/>
              <a:gd name="T60" fmla="*/ 124 w 592"/>
              <a:gd name="T61" fmla="*/ 241 h 592"/>
              <a:gd name="T62" fmla="*/ 473 w 592"/>
              <a:gd name="T63" fmla="*/ 241 h 592"/>
              <a:gd name="T64" fmla="*/ 540 w 592"/>
              <a:gd name="T65" fmla="*/ 308 h 592"/>
              <a:gd name="T66" fmla="*/ 473 w 592"/>
              <a:gd name="T67" fmla="*/ 375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2" h="592">
                <a:moveTo>
                  <a:pt x="298" y="118"/>
                </a:moveTo>
                <a:cubicBezTo>
                  <a:pt x="319" y="118"/>
                  <a:pt x="339" y="102"/>
                  <a:pt x="339" y="82"/>
                </a:cubicBezTo>
                <a:cubicBezTo>
                  <a:pt x="339" y="72"/>
                  <a:pt x="334" y="66"/>
                  <a:pt x="334" y="56"/>
                </a:cubicBezTo>
                <a:lnTo>
                  <a:pt x="298" y="0"/>
                </a:lnTo>
                <a:lnTo>
                  <a:pt x="262" y="56"/>
                </a:lnTo>
                <a:cubicBezTo>
                  <a:pt x="257" y="61"/>
                  <a:pt x="257" y="72"/>
                  <a:pt x="257" y="82"/>
                </a:cubicBezTo>
                <a:cubicBezTo>
                  <a:pt x="257" y="102"/>
                  <a:pt x="278" y="118"/>
                  <a:pt x="298" y="118"/>
                </a:cubicBezTo>
                <a:close/>
                <a:moveTo>
                  <a:pt x="473" y="185"/>
                </a:moveTo>
                <a:lnTo>
                  <a:pt x="324" y="185"/>
                </a:lnTo>
                <a:lnTo>
                  <a:pt x="324" y="149"/>
                </a:lnTo>
                <a:lnTo>
                  <a:pt x="273" y="149"/>
                </a:lnTo>
                <a:lnTo>
                  <a:pt x="273" y="185"/>
                </a:lnTo>
                <a:lnTo>
                  <a:pt x="124" y="185"/>
                </a:lnTo>
                <a:cubicBezTo>
                  <a:pt x="57" y="185"/>
                  <a:pt x="0" y="241"/>
                  <a:pt x="0" y="308"/>
                </a:cubicBezTo>
                <a:cubicBezTo>
                  <a:pt x="0" y="349"/>
                  <a:pt x="21" y="385"/>
                  <a:pt x="57" y="406"/>
                </a:cubicBezTo>
                <a:lnTo>
                  <a:pt x="57" y="591"/>
                </a:lnTo>
                <a:lnTo>
                  <a:pt x="540" y="591"/>
                </a:lnTo>
                <a:lnTo>
                  <a:pt x="540" y="406"/>
                </a:lnTo>
                <a:cubicBezTo>
                  <a:pt x="571" y="385"/>
                  <a:pt x="591" y="349"/>
                  <a:pt x="591" y="308"/>
                </a:cubicBezTo>
                <a:cubicBezTo>
                  <a:pt x="591" y="241"/>
                  <a:pt x="540" y="185"/>
                  <a:pt x="473" y="185"/>
                </a:cubicBezTo>
                <a:close/>
                <a:moveTo>
                  <a:pt x="473" y="375"/>
                </a:moveTo>
                <a:cubicBezTo>
                  <a:pt x="452" y="375"/>
                  <a:pt x="437" y="365"/>
                  <a:pt x="422" y="354"/>
                </a:cubicBezTo>
                <a:lnTo>
                  <a:pt x="386" y="318"/>
                </a:lnTo>
                <a:lnTo>
                  <a:pt x="344" y="354"/>
                </a:lnTo>
                <a:cubicBezTo>
                  <a:pt x="334" y="365"/>
                  <a:pt x="316" y="375"/>
                  <a:pt x="298" y="375"/>
                </a:cubicBezTo>
                <a:cubicBezTo>
                  <a:pt x="280" y="375"/>
                  <a:pt x="262" y="365"/>
                  <a:pt x="247" y="354"/>
                </a:cubicBezTo>
                <a:lnTo>
                  <a:pt x="211" y="318"/>
                </a:lnTo>
                <a:lnTo>
                  <a:pt x="170" y="354"/>
                </a:lnTo>
                <a:cubicBezTo>
                  <a:pt x="159" y="365"/>
                  <a:pt x="139" y="375"/>
                  <a:pt x="124" y="375"/>
                </a:cubicBezTo>
                <a:cubicBezTo>
                  <a:pt x="82" y="375"/>
                  <a:pt x="57" y="344"/>
                  <a:pt x="57" y="308"/>
                </a:cubicBezTo>
                <a:cubicBezTo>
                  <a:pt x="57" y="272"/>
                  <a:pt x="82" y="241"/>
                  <a:pt x="124" y="241"/>
                </a:cubicBezTo>
                <a:lnTo>
                  <a:pt x="473" y="241"/>
                </a:lnTo>
                <a:cubicBezTo>
                  <a:pt x="509" y="241"/>
                  <a:pt x="540" y="272"/>
                  <a:pt x="540" y="308"/>
                </a:cubicBezTo>
                <a:cubicBezTo>
                  <a:pt x="540" y="344"/>
                  <a:pt x="509" y="375"/>
                  <a:pt x="473" y="375"/>
                </a:cubicBezTo>
                <a:close/>
              </a:path>
            </a:pathLst>
          </a:custGeom>
          <a:solidFill>
            <a:schemeClr val="bg1"/>
          </a:solidFill>
          <a:ln>
            <a:solidFill>
              <a:schemeClr val="bg1">
                <a:lumMod val="50000"/>
              </a:schemeClr>
            </a:solidFill>
          </a:ln>
          <a:effectLst/>
        </p:spPr>
        <p:txBody>
          <a:bodyPr wrap="none" anchor="ctr"/>
          <a:lstStyle/>
          <a:p>
            <a:endParaRPr lang="en-US" sz="2592" dirty="0"/>
          </a:p>
        </p:txBody>
      </p:sp>
    </p:spTree>
    <p:extLst>
      <p:ext uri="{BB962C8B-B14F-4D97-AF65-F5344CB8AC3E}">
        <p14:creationId xmlns:p14="http://schemas.microsoft.com/office/powerpoint/2010/main" val="29752007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3898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p:nvPr>
        </p:nvSpPr>
        <p:spPr>
          <a:xfrm>
            <a:off x="156611" y="356168"/>
            <a:ext cx="780152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a:t>Click to edit Master title style</a:t>
            </a:r>
            <a:endParaRPr lang="en-US" dirty="0"/>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08BA4E9A-AA20-4054-B53F-E6C45034F572}" type="datetimeFigureOut">
              <a:rPr lang="en-US" smtClean="0"/>
              <a:pPr/>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10" name="Rectangle 9">
            <a:extLst>
              <a:ext uri="{FF2B5EF4-FFF2-40B4-BE49-F238E27FC236}">
                <a16:creationId xmlns:a16="http://schemas.microsoft.com/office/drawing/2014/main" id="{779B1C6A-B125-41DD-9F75-4B01F97CC2BD}"/>
              </a:ext>
            </a:extLst>
          </p:cNvPr>
          <p:cNvSpPr/>
          <p:nvPr userDrawn="1"/>
        </p:nvSpPr>
        <p:spPr>
          <a:xfrm>
            <a:off x="156611" y="6616700"/>
            <a:ext cx="325381" cy="241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1" name="Group 10">
            <a:extLst>
              <a:ext uri="{FF2B5EF4-FFF2-40B4-BE49-F238E27FC236}">
                <a16:creationId xmlns:a16="http://schemas.microsoft.com/office/drawing/2014/main" id="{0029AAB1-6A91-4438-89DE-31DEAC522738}"/>
              </a:ext>
            </a:extLst>
          </p:cNvPr>
          <p:cNvGrpSpPr/>
          <p:nvPr userDrawn="1"/>
        </p:nvGrpSpPr>
        <p:grpSpPr>
          <a:xfrm>
            <a:off x="8873031" y="6350000"/>
            <a:ext cx="270971" cy="517526"/>
            <a:chOff x="11257642" y="2162629"/>
            <a:chExt cx="934358" cy="4704897"/>
          </a:xfrm>
        </p:grpSpPr>
        <p:sp>
          <p:nvSpPr>
            <p:cNvPr id="12" name="Isosceles Triangle 11">
              <a:extLst>
                <a:ext uri="{FF2B5EF4-FFF2-40B4-BE49-F238E27FC236}">
                  <a16:creationId xmlns:a16="http://schemas.microsoft.com/office/drawing/2014/main" id="{0C97774E-9AE7-412A-B8FF-71842EED3897}"/>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Isosceles Triangle 7">
              <a:extLst>
                <a:ext uri="{FF2B5EF4-FFF2-40B4-BE49-F238E27FC236}">
                  <a16:creationId xmlns:a16="http://schemas.microsoft.com/office/drawing/2014/main" id="{B0469F9F-EFFE-4E2D-B4E1-657EF57F0047}"/>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14" name="Straight Connector 13">
            <a:extLst>
              <a:ext uri="{FF2B5EF4-FFF2-40B4-BE49-F238E27FC236}">
                <a16:creationId xmlns:a16="http://schemas.microsoft.com/office/drawing/2014/main" id="{6DD380D7-6E09-471A-80CF-E9E7B07BA824}"/>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7D7629-27AF-4F68-8AE8-F64D4E688683}"/>
              </a:ext>
            </a:extLst>
          </p:cNvPr>
          <p:cNvCxnSpPr>
            <a:cxnSpLocks/>
          </p:cNvCxnSpPr>
          <p:nvPr userDrawn="1"/>
        </p:nvCxnSpPr>
        <p:spPr>
          <a:xfrm>
            <a:off x="156612" y="1042857"/>
            <a:ext cx="883078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109B92E3-FE1A-4432-932F-C9C112F71602}"/>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185759" y="6645017"/>
            <a:ext cx="267085" cy="184666"/>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ctr">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4" name="Picture 6" descr="Image result for hanging lamp image">
            <a:extLst>
              <a:ext uri="{FF2B5EF4-FFF2-40B4-BE49-F238E27FC236}">
                <a16:creationId xmlns:a16="http://schemas.microsoft.com/office/drawing/2014/main" id="{BD23D39C-790F-4DF8-869E-DD2EA663B57D}"/>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3109"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a:extLst>
              <a:ext uri="{FF2B5EF4-FFF2-40B4-BE49-F238E27FC236}">
                <a16:creationId xmlns:a16="http://schemas.microsoft.com/office/drawing/2014/main" id="{4C6C11F9-4367-4C8D-BEB9-0BFE5D7DB090}"/>
              </a:ext>
            </a:extLst>
          </p:cNvPr>
          <p:cNvSpPr/>
          <p:nvPr/>
        </p:nvSpPr>
        <p:spPr>
          <a:xfrm>
            <a:off x="904725"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6" name="Group 25">
            <a:extLst>
              <a:ext uri="{FF2B5EF4-FFF2-40B4-BE49-F238E27FC236}">
                <a16:creationId xmlns:a16="http://schemas.microsoft.com/office/drawing/2014/main" id="{48E97686-C7C1-4BFD-A332-6DE906CEC62A}"/>
              </a:ext>
            </a:extLst>
          </p:cNvPr>
          <p:cNvGrpSpPr/>
          <p:nvPr/>
        </p:nvGrpSpPr>
        <p:grpSpPr>
          <a:xfrm>
            <a:off x="906533" y="3187879"/>
            <a:ext cx="1052673" cy="1403564"/>
            <a:chOff x="926067" y="3393874"/>
            <a:chExt cx="1691166" cy="1691166"/>
          </a:xfrm>
        </p:grpSpPr>
        <p:sp>
          <p:nvSpPr>
            <p:cNvPr id="31" name="Rectangle 30">
              <a:extLst>
                <a:ext uri="{FF2B5EF4-FFF2-40B4-BE49-F238E27FC236}">
                  <a16:creationId xmlns:a16="http://schemas.microsoft.com/office/drawing/2014/main" id="{AD072D69-2FCB-4AAF-A112-0D4FD55804A1}"/>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Oval 96">
              <a:extLst>
                <a:ext uri="{FF2B5EF4-FFF2-40B4-BE49-F238E27FC236}">
                  <a16:creationId xmlns:a16="http://schemas.microsoft.com/office/drawing/2014/main" id="{BB422F26-48A0-4235-B181-C8B48AC08DBC}"/>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3" name="Freeform 97">
              <a:extLst>
                <a:ext uri="{FF2B5EF4-FFF2-40B4-BE49-F238E27FC236}">
                  <a16:creationId xmlns:a16="http://schemas.microsoft.com/office/drawing/2014/main" id="{3D75F358-7298-4284-B658-295572EA0CB7}"/>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28" name="TextBox 27">
            <a:extLst>
              <a:ext uri="{FF2B5EF4-FFF2-40B4-BE49-F238E27FC236}">
                <a16:creationId xmlns:a16="http://schemas.microsoft.com/office/drawing/2014/main" id="{95B9C0CC-BAB1-490E-8E1C-DEE0E218BA41}"/>
              </a:ext>
            </a:extLst>
          </p:cNvPr>
          <p:cNvSpPr txBox="1"/>
          <p:nvPr/>
        </p:nvSpPr>
        <p:spPr>
          <a:xfrm>
            <a:off x="679121" y="4802691"/>
            <a:ext cx="1507497" cy="338554"/>
          </a:xfrm>
          <a:prstGeom prst="rect">
            <a:avLst/>
          </a:prstGeom>
          <a:noFill/>
        </p:spPr>
        <p:txBody>
          <a:bodyPr wrap="square" rtlCol="0">
            <a:spAutoFit/>
          </a:bodyPr>
          <a:lstStyle/>
          <a:p>
            <a:pPr algn="ctr"/>
            <a:r>
              <a:rPr lang="en-US" sz="1600" b="1" dirty="0">
                <a:solidFill>
                  <a:srgbClr val="0070C0"/>
                </a:solidFill>
              </a:rPr>
              <a:t>Text 1</a:t>
            </a:r>
          </a:p>
        </p:txBody>
      </p:sp>
      <p:sp>
        <p:nvSpPr>
          <p:cNvPr id="29" name="TextBox 28">
            <a:extLst>
              <a:ext uri="{FF2B5EF4-FFF2-40B4-BE49-F238E27FC236}">
                <a16:creationId xmlns:a16="http://schemas.microsoft.com/office/drawing/2014/main" id="{B3AF1B13-08F9-427F-A82A-D9422D925B32}"/>
              </a:ext>
            </a:extLst>
          </p:cNvPr>
          <p:cNvSpPr txBox="1"/>
          <p:nvPr/>
        </p:nvSpPr>
        <p:spPr>
          <a:xfrm>
            <a:off x="73500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pic>
        <p:nvPicPr>
          <p:cNvPr id="35" name="Picture 6" descr="Image result for hanging lamp image">
            <a:extLst>
              <a:ext uri="{FF2B5EF4-FFF2-40B4-BE49-F238E27FC236}">
                <a16:creationId xmlns:a16="http://schemas.microsoft.com/office/drawing/2014/main" id="{88D35A3A-00D0-4025-AC90-6632139E333C}"/>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42240"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DEE6708E-ECF6-4FA4-829D-44F14D8C5879}"/>
              </a:ext>
            </a:extLst>
          </p:cNvPr>
          <p:cNvSpPr/>
          <p:nvPr/>
        </p:nvSpPr>
        <p:spPr>
          <a:xfrm>
            <a:off x="4043856"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7" name="Group 36">
            <a:extLst>
              <a:ext uri="{FF2B5EF4-FFF2-40B4-BE49-F238E27FC236}">
                <a16:creationId xmlns:a16="http://schemas.microsoft.com/office/drawing/2014/main" id="{4D54A82A-31A0-47DE-A1D1-8AAE3A07F8FD}"/>
              </a:ext>
            </a:extLst>
          </p:cNvPr>
          <p:cNvGrpSpPr/>
          <p:nvPr/>
        </p:nvGrpSpPr>
        <p:grpSpPr>
          <a:xfrm>
            <a:off x="4045664" y="3187879"/>
            <a:ext cx="1052673" cy="1403564"/>
            <a:chOff x="926067" y="3393874"/>
            <a:chExt cx="1691166" cy="1691166"/>
          </a:xfrm>
        </p:grpSpPr>
        <p:sp>
          <p:nvSpPr>
            <p:cNvPr id="49" name="Rectangle 48">
              <a:extLst>
                <a:ext uri="{FF2B5EF4-FFF2-40B4-BE49-F238E27FC236}">
                  <a16:creationId xmlns:a16="http://schemas.microsoft.com/office/drawing/2014/main" id="{8B6D7D68-70B5-47EC-B6B7-7EDFD8AB74F7}"/>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0" name="Oval 96">
              <a:extLst>
                <a:ext uri="{FF2B5EF4-FFF2-40B4-BE49-F238E27FC236}">
                  <a16:creationId xmlns:a16="http://schemas.microsoft.com/office/drawing/2014/main" id="{D37046B0-556A-4170-B99D-B1C71B294655}"/>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1" name="Freeform 97">
              <a:extLst>
                <a:ext uri="{FF2B5EF4-FFF2-40B4-BE49-F238E27FC236}">
                  <a16:creationId xmlns:a16="http://schemas.microsoft.com/office/drawing/2014/main" id="{B7738065-83C2-4726-9955-21B946A11EDF}"/>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40" name="TextBox 39">
            <a:extLst>
              <a:ext uri="{FF2B5EF4-FFF2-40B4-BE49-F238E27FC236}">
                <a16:creationId xmlns:a16="http://schemas.microsoft.com/office/drawing/2014/main" id="{E7D1DA4F-4B26-46C0-A803-24FAE5835BE5}"/>
              </a:ext>
            </a:extLst>
          </p:cNvPr>
          <p:cNvSpPr txBox="1"/>
          <p:nvPr/>
        </p:nvSpPr>
        <p:spPr>
          <a:xfrm>
            <a:off x="3818252" y="4802691"/>
            <a:ext cx="1507497" cy="338554"/>
          </a:xfrm>
          <a:prstGeom prst="rect">
            <a:avLst/>
          </a:prstGeom>
          <a:noFill/>
        </p:spPr>
        <p:txBody>
          <a:bodyPr wrap="square" rtlCol="0">
            <a:spAutoFit/>
          </a:bodyPr>
          <a:lstStyle/>
          <a:p>
            <a:pPr algn="ctr"/>
            <a:r>
              <a:rPr lang="en-US" sz="1600" b="1" dirty="0">
                <a:solidFill>
                  <a:srgbClr val="0070C0"/>
                </a:solidFill>
              </a:rPr>
              <a:t>Text 2</a:t>
            </a:r>
          </a:p>
        </p:txBody>
      </p:sp>
      <p:sp>
        <p:nvSpPr>
          <p:cNvPr id="41" name="TextBox 40">
            <a:extLst>
              <a:ext uri="{FF2B5EF4-FFF2-40B4-BE49-F238E27FC236}">
                <a16:creationId xmlns:a16="http://schemas.microsoft.com/office/drawing/2014/main" id="{E5CC8595-B228-43D2-8812-AC0042D59822}"/>
              </a:ext>
            </a:extLst>
          </p:cNvPr>
          <p:cNvSpPr txBox="1"/>
          <p:nvPr/>
        </p:nvSpPr>
        <p:spPr>
          <a:xfrm>
            <a:off x="387413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pic>
        <p:nvPicPr>
          <p:cNvPr id="53" name="Picture 6" descr="Image result for hanging lamp image">
            <a:extLst>
              <a:ext uri="{FF2B5EF4-FFF2-40B4-BE49-F238E27FC236}">
                <a16:creationId xmlns:a16="http://schemas.microsoft.com/office/drawing/2014/main" id="{70322ADE-45F8-4A2B-9FE0-52F4156CDE8C}"/>
              </a:ext>
            </a:extLst>
          </p:cNvPr>
          <p:cNvPicPr>
            <a:picLocks noChangeAspect="1" noChangeArrowheads="1"/>
          </p:cNvPicPr>
          <p:nvPr/>
        </p:nvPicPr>
        <p:blipFill>
          <a:blip r:embed="rId9">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1368" y="1062038"/>
            <a:ext cx="1659524" cy="1799450"/>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a:extLst>
              <a:ext uri="{FF2B5EF4-FFF2-40B4-BE49-F238E27FC236}">
                <a16:creationId xmlns:a16="http://schemas.microsoft.com/office/drawing/2014/main" id="{98E9DF7D-35FB-406F-8721-3D4E08904208}"/>
              </a:ext>
            </a:extLst>
          </p:cNvPr>
          <p:cNvSpPr/>
          <p:nvPr/>
        </p:nvSpPr>
        <p:spPr>
          <a:xfrm>
            <a:off x="7182985" y="2715290"/>
            <a:ext cx="1056293" cy="154305"/>
          </a:xfrm>
          <a:prstGeom prst="ellipse">
            <a:avLst/>
          </a:prstGeom>
          <a:solidFill>
            <a:schemeClr val="bg1"/>
          </a:solidFill>
          <a:ln>
            <a:noFill/>
          </a:ln>
          <a:effectLst>
            <a:glow rad="139700">
              <a:schemeClr val="accent4">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55" name="Group 54">
            <a:extLst>
              <a:ext uri="{FF2B5EF4-FFF2-40B4-BE49-F238E27FC236}">
                <a16:creationId xmlns:a16="http://schemas.microsoft.com/office/drawing/2014/main" id="{D8342059-F88E-4780-B98D-2D7C026EC933}"/>
              </a:ext>
            </a:extLst>
          </p:cNvPr>
          <p:cNvGrpSpPr/>
          <p:nvPr/>
        </p:nvGrpSpPr>
        <p:grpSpPr>
          <a:xfrm>
            <a:off x="7184795" y="3187879"/>
            <a:ext cx="1052673" cy="1403564"/>
            <a:chOff x="926067" y="3393874"/>
            <a:chExt cx="1691166" cy="1691166"/>
          </a:xfrm>
        </p:grpSpPr>
        <p:sp>
          <p:nvSpPr>
            <p:cNvPr id="60" name="Rectangle 59">
              <a:extLst>
                <a:ext uri="{FF2B5EF4-FFF2-40B4-BE49-F238E27FC236}">
                  <a16:creationId xmlns:a16="http://schemas.microsoft.com/office/drawing/2014/main" id="{C9B01EC5-BA75-4B17-B62C-87CE2E9F73BE}"/>
                </a:ext>
              </a:extLst>
            </p:cNvPr>
            <p:cNvSpPr/>
            <p:nvPr/>
          </p:nvSpPr>
          <p:spPr>
            <a:xfrm>
              <a:off x="926067" y="3393874"/>
              <a:ext cx="1691166" cy="1691166"/>
            </a:xfrm>
            <a:prstGeom prst="rect">
              <a:avLst/>
            </a:prstGeom>
            <a:solidFill>
              <a:schemeClr val="tx2">
                <a:lumMod val="40000"/>
                <a:lumOff val="60000"/>
              </a:schemeClr>
            </a:solidFill>
            <a:ln w="57150">
              <a:solidFill>
                <a:schemeClr val="bg1"/>
              </a:solidFill>
            </a:ln>
            <a:effectLst>
              <a:glow rad="228600">
                <a:schemeClr val="tx2">
                  <a:lumMod val="40000"/>
                  <a:lumOff val="60000"/>
                  <a:alpha val="40000"/>
                </a:schemeClr>
              </a:glo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1" name="Oval 96">
              <a:extLst>
                <a:ext uri="{FF2B5EF4-FFF2-40B4-BE49-F238E27FC236}">
                  <a16:creationId xmlns:a16="http://schemas.microsoft.com/office/drawing/2014/main" id="{DB700D0F-B907-45DE-86C5-BF01A711B5C6}"/>
                </a:ext>
              </a:extLst>
            </p:cNvPr>
            <p:cNvSpPr>
              <a:spLocks noChangeArrowheads="1"/>
            </p:cNvSpPr>
            <p:nvPr/>
          </p:nvSpPr>
          <p:spPr bwMode="auto">
            <a:xfrm>
              <a:off x="1498741" y="3648407"/>
              <a:ext cx="583918" cy="602956"/>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62" name="Freeform 97">
              <a:extLst>
                <a:ext uri="{FF2B5EF4-FFF2-40B4-BE49-F238E27FC236}">
                  <a16:creationId xmlns:a16="http://schemas.microsoft.com/office/drawing/2014/main" id="{8E269624-1FF0-4595-9528-443E1B2513A7}"/>
                </a:ext>
              </a:extLst>
            </p:cNvPr>
            <p:cNvSpPr>
              <a:spLocks/>
            </p:cNvSpPr>
            <p:nvPr/>
          </p:nvSpPr>
          <p:spPr bwMode="auto">
            <a:xfrm>
              <a:off x="1169928" y="4251363"/>
              <a:ext cx="1241544" cy="627770"/>
            </a:xfrm>
            <a:custGeom>
              <a:avLst/>
              <a:gdLst>
                <a:gd name="T0" fmla="*/ 157 w 157"/>
                <a:gd name="T1" fmla="*/ 82 h 94"/>
                <a:gd name="T2" fmla="*/ 103 w 157"/>
                <a:gd name="T3" fmla="*/ 0 h 94"/>
                <a:gd name="T4" fmla="*/ 78 w 157"/>
                <a:gd name="T5" fmla="*/ 44 h 94"/>
                <a:gd name="T6" fmla="*/ 54 w 157"/>
                <a:gd name="T7" fmla="*/ 0 h 94"/>
                <a:gd name="T8" fmla="*/ 0 w 157"/>
                <a:gd name="T9" fmla="*/ 83 h 94"/>
                <a:gd name="T10" fmla="*/ 78 w 157"/>
                <a:gd name="T11" fmla="*/ 94 h 94"/>
                <a:gd name="T12" fmla="*/ 157 w 157"/>
                <a:gd name="T13" fmla="*/ 82 h 94"/>
                <a:gd name="connsiteX0" fmla="*/ 10000 w 10000"/>
                <a:gd name="connsiteY0" fmla="*/ 9820 h 11097"/>
                <a:gd name="connsiteX1" fmla="*/ 6561 w 10000"/>
                <a:gd name="connsiteY1" fmla="*/ 1097 h 11097"/>
                <a:gd name="connsiteX2" fmla="*/ 3439 w 10000"/>
                <a:gd name="connsiteY2" fmla="*/ 1097 h 11097"/>
                <a:gd name="connsiteX3" fmla="*/ 0 w 10000"/>
                <a:gd name="connsiteY3" fmla="*/ 9927 h 11097"/>
                <a:gd name="connsiteX4" fmla="*/ 4968 w 10000"/>
                <a:gd name="connsiteY4" fmla="*/ 11097 h 11097"/>
                <a:gd name="connsiteX5" fmla="*/ 10000 w 10000"/>
                <a:gd name="connsiteY5" fmla="*/ 9820 h 11097"/>
                <a:gd name="connsiteX0" fmla="*/ 10000 w 10000"/>
                <a:gd name="connsiteY0" fmla="*/ 9709 h 10986"/>
                <a:gd name="connsiteX1" fmla="*/ 6998 w 10000"/>
                <a:gd name="connsiteY1" fmla="*/ 1194 h 10986"/>
                <a:gd name="connsiteX2" fmla="*/ 3439 w 10000"/>
                <a:gd name="connsiteY2" fmla="*/ 986 h 10986"/>
                <a:gd name="connsiteX3" fmla="*/ 0 w 10000"/>
                <a:gd name="connsiteY3" fmla="*/ 9816 h 10986"/>
                <a:gd name="connsiteX4" fmla="*/ 4968 w 10000"/>
                <a:gd name="connsiteY4" fmla="*/ 10986 h 10986"/>
                <a:gd name="connsiteX5" fmla="*/ 10000 w 10000"/>
                <a:gd name="connsiteY5" fmla="*/ 9709 h 10986"/>
                <a:gd name="connsiteX0" fmla="*/ 10000 w 10000"/>
                <a:gd name="connsiteY0" fmla="*/ 9587 h 10864"/>
                <a:gd name="connsiteX1" fmla="*/ 6998 w 10000"/>
                <a:gd name="connsiteY1" fmla="*/ 1072 h 10864"/>
                <a:gd name="connsiteX2" fmla="*/ 2877 w 10000"/>
                <a:gd name="connsiteY2" fmla="*/ 1072 h 10864"/>
                <a:gd name="connsiteX3" fmla="*/ 0 w 10000"/>
                <a:gd name="connsiteY3" fmla="*/ 9694 h 10864"/>
                <a:gd name="connsiteX4" fmla="*/ 4968 w 10000"/>
                <a:gd name="connsiteY4" fmla="*/ 10864 h 10864"/>
                <a:gd name="connsiteX5" fmla="*/ 10000 w 10000"/>
                <a:gd name="connsiteY5" fmla="*/ 9587 h 10864"/>
                <a:gd name="connsiteX0" fmla="*/ 10000 w 10000"/>
                <a:gd name="connsiteY0" fmla="*/ 9771 h 11048"/>
                <a:gd name="connsiteX1" fmla="*/ 7186 w 10000"/>
                <a:gd name="connsiteY1" fmla="*/ 943 h 11048"/>
                <a:gd name="connsiteX2" fmla="*/ 2877 w 10000"/>
                <a:gd name="connsiteY2" fmla="*/ 1256 h 11048"/>
                <a:gd name="connsiteX3" fmla="*/ 0 w 10000"/>
                <a:gd name="connsiteY3" fmla="*/ 9878 h 11048"/>
                <a:gd name="connsiteX4" fmla="*/ 4968 w 10000"/>
                <a:gd name="connsiteY4" fmla="*/ 11048 h 11048"/>
                <a:gd name="connsiteX5" fmla="*/ 10000 w 10000"/>
                <a:gd name="connsiteY5" fmla="*/ 9771 h 11048"/>
                <a:gd name="connsiteX0" fmla="*/ 10000 w 10000"/>
                <a:gd name="connsiteY0" fmla="*/ 9825 h 11102"/>
                <a:gd name="connsiteX1" fmla="*/ 7186 w 10000"/>
                <a:gd name="connsiteY1" fmla="*/ 997 h 11102"/>
                <a:gd name="connsiteX2" fmla="*/ 2752 w 10000"/>
                <a:gd name="connsiteY2" fmla="*/ 1206 h 11102"/>
                <a:gd name="connsiteX3" fmla="*/ 0 w 10000"/>
                <a:gd name="connsiteY3" fmla="*/ 9932 h 11102"/>
                <a:gd name="connsiteX4" fmla="*/ 4968 w 10000"/>
                <a:gd name="connsiteY4" fmla="*/ 11102 h 11102"/>
                <a:gd name="connsiteX5" fmla="*/ 10000 w 10000"/>
                <a:gd name="connsiteY5" fmla="*/ 9825 h 1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1102">
                  <a:moveTo>
                    <a:pt x="10000" y="9825"/>
                  </a:moveTo>
                  <a:cubicBezTo>
                    <a:pt x="9554" y="3549"/>
                    <a:pt x="8394" y="2434"/>
                    <a:pt x="7186" y="997"/>
                  </a:cubicBezTo>
                  <a:cubicBezTo>
                    <a:pt x="5978" y="-440"/>
                    <a:pt x="3950" y="-283"/>
                    <a:pt x="2752" y="1206"/>
                  </a:cubicBezTo>
                  <a:cubicBezTo>
                    <a:pt x="1554" y="2695"/>
                    <a:pt x="446" y="3655"/>
                    <a:pt x="0" y="9932"/>
                  </a:cubicBezTo>
                  <a:cubicBezTo>
                    <a:pt x="318" y="10145"/>
                    <a:pt x="2548" y="11102"/>
                    <a:pt x="4968" y="11102"/>
                  </a:cubicBezTo>
                  <a:cubicBezTo>
                    <a:pt x="7452" y="11102"/>
                    <a:pt x="9682" y="9932"/>
                    <a:pt x="10000" y="9825"/>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57" name="TextBox 56">
            <a:extLst>
              <a:ext uri="{FF2B5EF4-FFF2-40B4-BE49-F238E27FC236}">
                <a16:creationId xmlns:a16="http://schemas.microsoft.com/office/drawing/2014/main" id="{CB4307A0-2F13-4119-B3C1-8A50F84FDEAB}"/>
              </a:ext>
            </a:extLst>
          </p:cNvPr>
          <p:cNvSpPr txBox="1"/>
          <p:nvPr/>
        </p:nvSpPr>
        <p:spPr>
          <a:xfrm>
            <a:off x="6957383" y="4802691"/>
            <a:ext cx="1507497" cy="338554"/>
          </a:xfrm>
          <a:prstGeom prst="rect">
            <a:avLst/>
          </a:prstGeom>
          <a:noFill/>
        </p:spPr>
        <p:txBody>
          <a:bodyPr wrap="square" rtlCol="0">
            <a:spAutoFit/>
          </a:bodyPr>
          <a:lstStyle/>
          <a:p>
            <a:pPr algn="ctr"/>
            <a:r>
              <a:rPr lang="en-US" sz="1600" b="1" dirty="0">
                <a:solidFill>
                  <a:srgbClr val="0070C0"/>
                </a:solidFill>
              </a:rPr>
              <a:t>Text 3</a:t>
            </a:r>
          </a:p>
        </p:txBody>
      </p:sp>
      <p:sp>
        <p:nvSpPr>
          <p:cNvPr id="58" name="TextBox 57">
            <a:extLst>
              <a:ext uri="{FF2B5EF4-FFF2-40B4-BE49-F238E27FC236}">
                <a16:creationId xmlns:a16="http://schemas.microsoft.com/office/drawing/2014/main" id="{71C339D5-2503-4521-9C64-551E67F58A39}"/>
              </a:ext>
            </a:extLst>
          </p:cNvPr>
          <p:cNvSpPr txBox="1"/>
          <p:nvPr/>
        </p:nvSpPr>
        <p:spPr>
          <a:xfrm>
            <a:off x="7013261" y="5370020"/>
            <a:ext cx="1395738" cy="2215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defPPr>
              <a:defRPr lang="en-US"/>
            </a:defPPr>
            <a:lvl1pPr lvl="0" indent="0" algn="ctr">
              <a:lnSpc>
                <a:spcPct val="90000"/>
              </a:lnSpc>
              <a:spcBef>
                <a:spcPts val="1000"/>
              </a:spcBef>
              <a:buFont typeface="Arial" panose="020B0604020202020204" pitchFamily="34" charset="0"/>
              <a:buNone/>
              <a:defRPr sz="1600"/>
            </a:lvl1pPr>
            <a:lvl2pPr marL="266700" lvl="1" indent="-266700">
              <a:lnSpc>
                <a:spcPct val="100000"/>
              </a:lnSpc>
              <a:spcBef>
                <a:spcPts val="0"/>
              </a:spcBef>
              <a:spcAft>
                <a:spcPts val="0"/>
              </a:spcAft>
              <a:buClr>
                <a:schemeClr val="accent2"/>
              </a:buClr>
              <a:buFont typeface="Abadi" panose="020B0604020104020204" pitchFamily="34" charset="0"/>
              <a:buChar char="›"/>
              <a:defRPr baseline="0"/>
            </a:lvl2pPr>
            <a:lvl3pPr marL="681038" lvl="2" indent="-412750">
              <a:lnSpc>
                <a:spcPct val="100000"/>
              </a:lnSpc>
              <a:spcBef>
                <a:spcPts val="0"/>
              </a:spcBef>
              <a:spcAft>
                <a:spcPts val="0"/>
              </a:spcAft>
              <a:buClr>
                <a:schemeClr val="accent2"/>
              </a:buClr>
              <a:buFontTx/>
              <a:buChar char="–"/>
              <a:defRPr baseline="0"/>
            </a:lvl3pPr>
            <a:lvl4pPr marL="1049338" lvl="3" indent="-358775">
              <a:lnSpc>
                <a:spcPct val="100000"/>
              </a:lnSpc>
              <a:spcBef>
                <a:spcPts val="0"/>
              </a:spcBef>
              <a:spcAft>
                <a:spcPts val="0"/>
              </a:spcAft>
              <a:buClr>
                <a:schemeClr val="accent2"/>
              </a:buClr>
              <a:buFont typeface="Arial" panose="020B0604020202020204" pitchFamily="34" charset="0"/>
              <a:buChar char="•"/>
              <a:defRPr baseline="0"/>
            </a:lvl4pPr>
            <a:lvl5pPr marL="1416050" lvl="4" indent="-376238">
              <a:lnSpc>
                <a:spcPct val="100000"/>
              </a:lnSpc>
              <a:spcBef>
                <a:spcPts val="0"/>
              </a:spcBef>
              <a:spcAft>
                <a:spcPts val="0"/>
              </a:spcAft>
              <a:buClr>
                <a:schemeClr val="accent2"/>
              </a:buClr>
              <a:buFont typeface="Calibri" panose="020F0502020204030204" pitchFamily="34" charset="0"/>
              <a:buChar char="▫"/>
              <a:defRPr baseline="0"/>
            </a:lvl5pPr>
            <a:lvl6pPr marL="1792288" lvl="5" indent="-357188">
              <a:lnSpc>
                <a:spcPct val="100000"/>
              </a:lnSpc>
              <a:spcBef>
                <a:spcPts val="0"/>
              </a:spcBef>
              <a:spcAft>
                <a:spcPts val="0"/>
              </a:spcAft>
              <a:buClr>
                <a:schemeClr val="accent2"/>
              </a:buClr>
              <a:buSzPct val="80000"/>
              <a:buFont typeface="Abadi" panose="020B0604020104020204" pitchFamily="34" charset="0"/>
              <a:buChar char="›"/>
              <a:defRPr baseline="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dirty="0"/>
              <a:t>text</a:t>
            </a:r>
          </a:p>
        </p:txBody>
      </p:sp>
    </p:spTree>
    <p:extLst>
      <p:ext uri="{BB962C8B-B14F-4D97-AF65-F5344CB8AC3E}">
        <p14:creationId xmlns:p14="http://schemas.microsoft.com/office/powerpoint/2010/main" val="35554160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4000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3" name="Isosceles Triangle 2">
            <a:extLst>
              <a:ext uri="{FF2B5EF4-FFF2-40B4-BE49-F238E27FC236}">
                <a16:creationId xmlns:a16="http://schemas.microsoft.com/office/drawing/2014/main" id="{EFBE8B1C-FCB9-4386-8694-8B419BDDCD1D}"/>
              </a:ext>
            </a:extLst>
          </p:cNvPr>
          <p:cNvSpPr/>
          <p:nvPr userDrawn="1"/>
        </p:nvSpPr>
        <p:spPr>
          <a:xfrm flipH="1">
            <a:off x="2" y="0"/>
            <a:ext cx="28860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156614" y="356168"/>
            <a:ext cx="2453239"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bg1"/>
                </a:solidFill>
              </a:defRPr>
            </a:lvl1pPr>
          </a:lstStyle>
          <a:p>
            <a:pPr marL="0" lvl="0">
              <a:spcBef>
                <a:spcPts val="0"/>
              </a:spcBef>
            </a:pPr>
            <a:r>
              <a:rPr lang="en-US" dirty="0"/>
              <a:t>Agenda</a:t>
            </a:r>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hasCustomPrompt="1"/>
          </p:nvPr>
        </p:nvSpPr>
        <p:spPr>
          <a:xfrm>
            <a:off x="3343275" y="2151876"/>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1</a:t>
            </a:r>
          </a:p>
        </p:txBody>
      </p:sp>
      <p:grpSp>
        <p:nvGrpSpPr>
          <p:cNvPr id="47" name="Group 46">
            <a:extLst>
              <a:ext uri="{FF2B5EF4-FFF2-40B4-BE49-F238E27FC236}">
                <a16:creationId xmlns:a16="http://schemas.microsoft.com/office/drawing/2014/main" id="{C62FF03B-3D1B-4F2C-90F6-46BDF6880CF8}"/>
              </a:ext>
            </a:extLst>
          </p:cNvPr>
          <p:cNvGrpSpPr/>
          <p:nvPr userDrawn="1"/>
        </p:nvGrpSpPr>
        <p:grpSpPr>
          <a:xfrm>
            <a:off x="0" y="0"/>
            <a:ext cx="9144000" cy="84978"/>
            <a:chOff x="0" y="0"/>
            <a:chExt cx="12192000" cy="84978"/>
          </a:xfrm>
        </p:grpSpPr>
        <p:sp>
          <p:nvSpPr>
            <p:cNvPr id="42" name="Rectangle 41">
              <a:extLst>
                <a:ext uri="{FF2B5EF4-FFF2-40B4-BE49-F238E27FC236}">
                  <a16:creationId xmlns:a16="http://schemas.microsoft.com/office/drawing/2014/main" id="{EC9F5D84-00BD-4A3C-8297-3C772BC3E48C}"/>
                </a:ext>
              </a:extLst>
            </p:cNvPr>
            <p:cNvSpPr/>
            <p:nvPr userDrawn="1"/>
          </p:nvSpPr>
          <p:spPr>
            <a:xfrm>
              <a:off x="0" y="0"/>
              <a:ext cx="11472863"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Parallelogram 42">
              <a:extLst>
                <a:ext uri="{FF2B5EF4-FFF2-40B4-BE49-F238E27FC236}">
                  <a16:creationId xmlns:a16="http://schemas.microsoft.com/office/drawing/2014/main" id="{36F2EF1C-88D4-494F-895E-F7A212676AE8}"/>
                </a:ext>
              </a:extLst>
            </p:cNvPr>
            <p:cNvSpPr>
              <a:spLocks/>
            </p:cNvSpPr>
            <p:nvPr userDrawn="1"/>
          </p:nvSpPr>
          <p:spPr>
            <a:xfrm>
              <a:off x="11435914" y="0"/>
              <a:ext cx="183991"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Parallelogram 43">
              <a:extLst>
                <a:ext uri="{FF2B5EF4-FFF2-40B4-BE49-F238E27FC236}">
                  <a16:creationId xmlns:a16="http://schemas.microsoft.com/office/drawing/2014/main" id="{5B5911BD-A9A1-400C-9F46-CC9ACF67C176}"/>
                </a:ext>
              </a:extLst>
            </p:cNvPr>
            <p:cNvSpPr>
              <a:spLocks/>
            </p:cNvSpPr>
            <p:nvPr userDrawn="1"/>
          </p:nvSpPr>
          <p:spPr>
            <a:xfrm>
              <a:off x="11850648" y="0"/>
              <a:ext cx="183991"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Parallelogram 44">
              <a:extLst>
                <a:ext uri="{FF2B5EF4-FFF2-40B4-BE49-F238E27FC236}">
                  <a16:creationId xmlns:a16="http://schemas.microsoft.com/office/drawing/2014/main" id="{58B42A57-46AF-44A1-AB6D-8F5A1BAAA88F}"/>
                </a:ext>
              </a:extLst>
            </p:cNvPr>
            <p:cNvSpPr/>
            <p:nvPr userDrawn="1"/>
          </p:nvSpPr>
          <p:spPr>
            <a:xfrm>
              <a:off x="11643281" y="0"/>
              <a:ext cx="183991"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Freeform: Shape 45">
              <a:extLst>
                <a:ext uri="{FF2B5EF4-FFF2-40B4-BE49-F238E27FC236}">
                  <a16:creationId xmlns:a16="http://schemas.microsoft.com/office/drawing/2014/main" id="{9FAC3C86-F64E-4350-AF82-17B101CDE280}"/>
                </a:ext>
              </a:extLst>
            </p:cNvPr>
            <p:cNvSpPr>
              <a:spLocks/>
            </p:cNvSpPr>
            <p:nvPr userDrawn="1"/>
          </p:nvSpPr>
          <p:spPr>
            <a:xfrm>
              <a:off x="12058016" y="0"/>
              <a:ext cx="133984"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pic>
        <p:nvPicPr>
          <p:cNvPr id="26" name="Graphic 25">
            <a:extLst>
              <a:ext uri="{FF2B5EF4-FFF2-40B4-BE49-F238E27FC236}">
                <a16:creationId xmlns:a16="http://schemas.microsoft.com/office/drawing/2014/main" id="{72B5F7C8-148F-4B52-AEC6-3396643E119F}"/>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8064378" y="338426"/>
            <a:ext cx="923014" cy="450982"/>
          </a:xfrm>
          <a:prstGeom prst="rect">
            <a:avLst/>
          </a:prstGeom>
        </p:spPr>
      </p:pic>
      <p:sp>
        <p:nvSpPr>
          <p:cNvPr id="27" name="Text Placeholder 38">
            <a:extLst>
              <a:ext uri="{FF2B5EF4-FFF2-40B4-BE49-F238E27FC236}">
                <a16:creationId xmlns:a16="http://schemas.microsoft.com/office/drawing/2014/main" id="{DB2FF9F0-0DC4-489A-81EA-137D60EC0578}"/>
              </a:ext>
            </a:extLst>
          </p:cNvPr>
          <p:cNvSpPr>
            <a:spLocks noGrp="1"/>
          </p:cNvSpPr>
          <p:nvPr>
            <p:ph type="body" sz="quarter" idx="15" hasCustomPrompt="1"/>
          </p:nvPr>
        </p:nvSpPr>
        <p:spPr>
          <a:xfrm>
            <a:off x="3343275" y="3437751"/>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2</a:t>
            </a:r>
          </a:p>
        </p:txBody>
      </p:sp>
      <p:sp>
        <p:nvSpPr>
          <p:cNvPr id="28" name="Text Placeholder 38">
            <a:extLst>
              <a:ext uri="{FF2B5EF4-FFF2-40B4-BE49-F238E27FC236}">
                <a16:creationId xmlns:a16="http://schemas.microsoft.com/office/drawing/2014/main" id="{B0A9C069-561D-4DA2-A580-7D8250689241}"/>
              </a:ext>
            </a:extLst>
          </p:cNvPr>
          <p:cNvSpPr>
            <a:spLocks noGrp="1"/>
          </p:cNvSpPr>
          <p:nvPr>
            <p:ph type="body" sz="quarter" idx="16" hasCustomPrompt="1"/>
          </p:nvPr>
        </p:nvSpPr>
        <p:spPr>
          <a:xfrm>
            <a:off x="3343275" y="4686300"/>
            <a:ext cx="4114800" cy="553998"/>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a:defRPr sz="4000"/>
            </a:lvl1pPr>
            <a:lvl2pPr marL="266693" indent="-266693">
              <a:lnSpc>
                <a:spcPct val="100000"/>
              </a:lnSpc>
              <a:spcBef>
                <a:spcPts val="0"/>
              </a:spcBef>
              <a:spcAft>
                <a:spcPts val="0"/>
              </a:spcAft>
              <a:buClr>
                <a:schemeClr val="accent2"/>
              </a:buClr>
              <a:buFont typeface="Abadi" panose="020B0604020104020204" pitchFamily="34" charset="0"/>
              <a:buChar char="›"/>
              <a:defRPr sz="32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dirty="0"/>
              <a:t>Content 3</a:t>
            </a:r>
          </a:p>
        </p:txBody>
      </p:sp>
      <p:sp>
        <p:nvSpPr>
          <p:cNvPr id="15" name="Isosceles Triangle 14">
            <a:extLst>
              <a:ext uri="{FF2B5EF4-FFF2-40B4-BE49-F238E27FC236}">
                <a16:creationId xmlns:a16="http://schemas.microsoft.com/office/drawing/2014/main" id="{ABA3A242-0290-4F24-86CE-64BD7CB7EDFB}"/>
              </a:ext>
            </a:extLst>
          </p:cNvPr>
          <p:cNvSpPr/>
          <p:nvPr userDrawn="1"/>
        </p:nvSpPr>
        <p:spPr>
          <a:xfrm rot="5400000">
            <a:off x="2440781" y="2336008"/>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Isosceles Triangle 29">
            <a:extLst>
              <a:ext uri="{FF2B5EF4-FFF2-40B4-BE49-F238E27FC236}">
                <a16:creationId xmlns:a16="http://schemas.microsoft.com/office/drawing/2014/main" id="{9F6F2F15-942B-4A86-9D33-A2A07D56F339}"/>
              </a:ext>
            </a:extLst>
          </p:cNvPr>
          <p:cNvSpPr/>
          <p:nvPr userDrawn="1"/>
        </p:nvSpPr>
        <p:spPr>
          <a:xfrm rot="5400000">
            <a:off x="2440781" y="3621881"/>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Isosceles Triangle 30">
            <a:extLst>
              <a:ext uri="{FF2B5EF4-FFF2-40B4-BE49-F238E27FC236}">
                <a16:creationId xmlns:a16="http://schemas.microsoft.com/office/drawing/2014/main" id="{770049CD-C912-44E3-88A2-BD2FAE5A52AD}"/>
              </a:ext>
            </a:extLst>
          </p:cNvPr>
          <p:cNvSpPr/>
          <p:nvPr userDrawn="1"/>
        </p:nvSpPr>
        <p:spPr>
          <a:xfrm rot="5400000">
            <a:off x="2440781" y="4907758"/>
            <a:ext cx="704850" cy="1857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012206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86AC00-FFFB-4D7B-AD9B-2EDEBD6DD0DB}"/>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4103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2A86AC00-FFFB-4D7B-AD9B-2EDEBD6DD0DB}"/>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93375A4-C511-4E07-8FBB-0ACC501653D4}"/>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1">
            <a:extLst>
              <a:ext uri="{FF2B5EF4-FFF2-40B4-BE49-F238E27FC236}">
                <a16:creationId xmlns:a16="http://schemas.microsoft.com/office/drawing/2014/main" id="{29449FE9-344E-427F-953D-D15DC98944F4}"/>
              </a:ext>
            </a:extLst>
          </p:cNvPr>
          <p:cNvSpPr>
            <a:spLocks noGrp="1"/>
          </p:cNvSpPr>
          <p:nvPr>
            <p:ph type="title" hasCustomPrompt="1"/>
          </p:nvPr>
        </p:nvSpPr>
        <p:spPr>
          <a:xfrm>
            <a:off x="976995" y="356168"/>
            <a:ext cx="6909707"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3000" dirty="0">
                <a:solidFill>
                  <a:schemeClr val="accent2"/>
                </a:solidFill>
              </a:defRPr>
            </a:lvl1pPr>
          </a:lstStyle>
          <a:p>
            <a:pPr marL="0" lvl="0">
              <a:spcBef>
                <a:spcPts val="0"/>
              </a:spcBef>
            </a:pPr>
            <a:r>
              <a:rPr lang="en-US" dirty="0"/>
              <a:t>Title Tracker Style</a:t>
            </a:r>
          </a:p>
        </p:txBody>
      </p:sp>
      <p:sp>
        <p:nvSpPr>
          <p:cNvPr id="4" name="Date Placeholder 3">
            <a:extLst>
              <a:ext uri="{FF2B5EF4-FFF2-40B4-BE49-F238E27FC236}">
                <a16:creationId xmlns:a16="http://schemas.microsoft.com/office/drawing/2014/main" id="{E72FB1F3-0464-4874-85EE-5DB86FAE8C75}"/>
              </a:ext>
            </a:extLst>
          </p:cNvPr>
          <p:cNvSpPr>
            <a:spLocks noGrp="1"/>
          </p:cNvSpPr>
          <p:nvPr>
            <p:ph type="dt" sz="half" idx="10"/>
          </p:nvPr>
        </p:nvSpPr>
        <p:spPr>
          <a:xfrm>
            <a:off x="8539640" y="6675800"/>
            <a:ext cx="447750"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r">
              <a:spcBef>
                <a:spcPts val="0"/>
              </a:spcBef>
              <a:spcAft>
                <a:spcPts val="0"/>
              </a:spcAft>
              <a:defRPr lang="en-US" sz="800" baseline="0" smtClean="0">
                <a:solidFill>
                  <a:schemeClr val="tx1"/>
                </a:solidFill>
              </a:defRPr>
            </a:lvl1pPr>
          </a:lstStyle>
          <a:p>
            <a:fld id="{08BA4E9A-AA20-4054-B53F-E6C45034F572}" type="datetimeFigureOut">
              <a:rPr lang="en-US" smtClean="0"/>
              <a:pPr/>
              <a:t>5/20/20</a:t>
            </a:fld>
            <a:endParaRPr lang="en-US" dirty="0"/>
          </a:p>
        </p:txBody>
      </p:sp>
      <p:sp>
        <p:nvSpPr>
          <p:cNvPr id="5" name="Footer Placeholder 4">
            <a:extLst>
              <a:ext uri="{FF2B5EF4-FFF2-40B4-BE49-F238E27FC236}">
                <a16:creationId xmlns:a16="http://schemas.microsoft.com/office/drawing/2014/main" id="{0896CEA7-42D1-4FA7-91A1-BBE2D3FC11EC}"/>
              </a:ext>
            </a:extLst>
          </p:cNvPr>
          <p:cNvSpPr>
            <a:spLocks noGrp="1"/>
          </p:cNvSpPr>
          <p:nvPr>
            <p:ph type="ftr" sz="quarter" idx="11"/>
          </p:nvPr>
        </p:nvSpPr>
        <p:spPr>
          <a:xfrm>
            <a:off x="533400" y="6675800"/>
            <a:ext cx="7877176" cy="123111"/>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a:defRPr lang="en-US" sz="800" baseline="0" dirty="0">
                <a:solidFill>
                  <a:schemeClr val="tx1"/>
                </a:solidFill>
              </a:defRPr>
            </a:lvl1pPr>
          </a:lstStyle>
          <a:p>
            <a:endParaRPr lang="en-US" dirty="0"/>
          </a:p>
        </p:txBody>
      </p:sp>
      <p:sp>
        <p:nvSpPr>
          <p:cNvPr id="39" name="Text Placeholder 38">
            <a:extLst>
              <a:ext uri="{FF2B5EF4-FFF2-40B4-BE49-F238E27FC236}">
                <a16:creationId xmlns:a16="http://schemas.microsoft.com/office/drawing/2014/main" id="{4B8D5E43-F45E-42B8-ABA0-9341CCDF50D3}"/>
              </a:ext>
            </a:extLst>
          </p:cNvPr>
          <p:cNvSpPr>
            <a:spLocks noGrp="1"/>
          </p:cNvSpPr>
          <p:nvPr>
            <p:ph type="body" sz="quarter" idx="14"/>
          </p:nvPr>
        </p:nvSpPr>
        <p:spPr>
          <a:xfrm>
            <a:off x="857250" y="1524004"/>
            <a:ext cx="4114800" cy="1329595"/>
          </a:xfr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2pPr marL="266693" indent="-266693">
              <a:lnSpc>
                <a:spcPct val="100000"/>
              </a:lnSpc>
              <a:spcBef>
                <a:spcPts val="0"/>
              </a:spcBef>
              <a:spcAft>
                <a:spcPts val="0"/>
              </a:spcAft>
              <a:buClr>
                <a:schemeClr val="accent2"/>
              </a:buClr>
              <a:buFont typeface="Abadi" panose="020B0604020104020204" pitchFamily="34" charset="0"/>
              <a:buChar char="›"/>
              <a:defRPr sz="1800" baseline="0">
                <a:latin typeface="+mn-lt"/>
              </a:defRPr>
            </a:lvl2pPr>
            <a:lvl3pPr marL="681022" indent="-412740">
              <a:lnSpc>
                <a:spcPct val="100000"/>
              </a:lnSpc>
              <a:spcBef>
                <a:spcPts val="0"/>
              </a:spcBef>
              <a:spcAft>
                <a:spcPts val="0"/>
              </a:spcAft>
              <a:buClr>
                <a:schemeClr val="accent2"/>
              </a:buClr>
              <a:buFontTx/>
              <a:buChar char="–"/>
              <a:defRPr sz="1800" baseline="0">
                <a:latin typeface="+mn-lt"/>
              </a:defRPr>
            </a:lvl3pPr>
            <a:lvl4pPr marL="1049312" indent="-358766">
              <a:lnSpc>
                <a:spcPct val="100000"/>
              </a:lnSpc>
              <a:spcBef>
                <a:spcPts val="0"/>
              </a:spcBef>
              <a:spcAft>
                <a:spcPts val="0"/>
              </a:spcAft>
              <a:buClr>
                <a:schemeClr val="accent2"/>
              </a:buClr>
              <a:defRPr sz="1800" baseline="0">
                <a:latin typeface="+mn-lt"/>
              </a:defRPr>
            </a:lvl4pPr>
            <a:lvl5pPr marL="1416015" indent="-376229">
              <a:lnSpc>
                <a:spcPct val="100000"/>
              </a:lnSpc>
              <a:spcBef>
                <a:spcPts val="0"/>
              </a:spcBef>
              <a:spcAft>
                <a:spcPts val="0"/>
              </a:spcAft>
              <a:buClr>
                <a:schemeClr val="accent2"/>
              </a:buClr>
              <a:buFont typeface="Calibri" panose="020F0502020204030204" pitchFamily="34" charset="0"/>
              <a:buChar char="▫"/>
              <a:defRPr sz="1800" baseline="0">
                <a:latin typeface="+mn-lt"/>
              </a:defRPr>
            </a:lvl5pPr>
            <a:lvl6pPr marL="1792243" indent="-357179">
              <a:lnSpc>
                <a:spcPct val="100000"/>
              </a:lnSpc>
              <a:spcBef>
                <a:spcPts val="0"/>
              </a:spcBef>
              <a:spcAft>
                <a:spcPts val="0"/>
              </a:spcAft>
              <a:buClr>
                <a:schemeClr val="accent2"/>
              </a:buClr>
              <a:buSzPct val="80000"/>
              <a:buFont typeface="Abadi" panose="020B0604020104020204" pitchFamily="34" charset="0"/>
              <a:buChar char="›"/>
              <a:defRPr sz="1800"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Rectangle 22">
            <a:extLst>
              <a:ext uri="{FF2B5EF4-FFF2-40B4-BE49-F238E27FC236}">
                <a16:creationId xmlns:a16="http://schemas.microsoft.com/office/drawing/2014/main" id="{636974A1-C155-4415-8220-D8371A600682}"/>
              </a:ext>
            </a:extLst>
          </p:cNvPr>
          <p:cNvSpPr/>
          <p:nvPr userDrawn="1"/>
        </p:nvSpPr>
        <p:spPr>
          <a:xfrm>
            <a:off x="3" y="0"/>
            <a:ext cx="8604647" cy="84978"/>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Freeform: Shape 23">
            <a:extLst>
              <a:ext uri="{FF2B5EF4-FFF2-40B4-BE49-F238E27FC236}">
                <a16:creationId xmlns:a16="http://schemas.microsoft.com/office/drawing/2014/main" id="{759ED170-213A-4BFD-818E-C2021348CCCF}"/>
              </a:ext>
            </a:extLst>
          </p:cNvPr>
          <p:cNvSpPr>
            <a:spLocks/>
          </p:cNvSpPr>
          <p:nvPr userDrawn="1"/>
        </p:nvSpPr>
        <p:spPr>
          <a:xfrm>
            <a:off x="0" y="0"/>
            <a:ext cx="1028700" cy="84978"/>
          </a:xfrm>
          <a:custGeom>
            <a:avLst/>
            <a:gdLst>
              <a:gd name="connsiteX0" fmla="*/ 0 w 1371600"/>
              <a:gd name="connsiteY0" fmla="*/ 0 h 84978"/>
              <a:gd name="connsiteX1" fmla="*/ 1321780 w 1371600"/>
              <a:gd name="connsiteY1" fmla="*/ 0 h 84978"/>
              <a:gd name="connsiteX2" fmla="*/ 1371600 w 1371600"/>
              <a:gd name="connsiteY2" fmla="*/ 84978 h 84978"/>
              <a:gd name="connsiteX3" fmla="*/ 0 w 1371600"/>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71600" h="84978">
                <a:moveTo>
                  <a:pt x="0" y="0"/>
                </a:moveTo>
                <a:lnTo>
                  <a:pt x="1321780" y="0"/>
                </a:lnTo>
                <a:lnTo>
                  <a:pt x="1371600" y="84978"/>
                </a:lnTo>
                <a:lnTo>
                  <a:pt x="0" y="84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7" name="Group 26">
            <a:extLst>
              <a:ext uri="{FF2B5EF4-FFF2-40B4-BE49-F238E27FC236}">
                <a16:creationId xmlns:a16="http://schemas.microsoft.com/office/drawing/2014/main" id="{E5963ED6-E30F-473C-BACE-AB9FD1262A2F}"/>
              </a:ext>
            </a:extLst>
          </p:cNvPr>
          <p:cNvGrpSpPr/>
          <p:nvPr userDrawn="1"/>
        </p:nvGrpSpPr>
        <p:grpSpPr>
          <a:xfrm>
            <a:off x="8873031" y="6350000"/>
            <a:ext cx="270971" cy="517526"/>
            <a:chOff x="11257642" y="2162629"/>
            <a:chExt cx="934358" cy="4704897"/>
          </a:xfrm>
        </p:grpSpPr>
        <p:sp>
          <p:nvSpPr>
            <p:cNvPr id="28" name="Isosceles Triangle 27">
              <a:extLst>
                <a:ext uri="{FF2B5EF4-FFF2-40B4-BE49-F238E27FC236}">
                  <a16:creationId xmlns:a16="http://schemas.microsoft.com/office/drawing/2014/main" id="{8753E6E0-E047-480A-87AB-BE584D710906}"/>
                </a:ext>
              </a:extLst>
            </p:cNvPr>
            <p:cNvSpPr/>
            <p:nvPr/>
          </p:nvSpPr>
          <p:spPr>
            <a:xfrm>
              <a:off x="11959771" y="2162629"/>
              <a:ext cx="232229" cy="4695372"/>
            </a:xfrm>
            <a:prstGeom prst="triangle">
              <a:avLst>
                <a:gd name="adj" fmla="val 1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Isosceles Triangle 7">
              <a:extLst>
                <a:ext uri="{FF2B5EF4-FFF2-40B4-BE49-F238E27FC236}">
                  <a16:creationId xmlns:a16="http://schemas.microsoft.com/office/drawing/2014/main" id="{05B3C960-B899-4ACC-836A-D20509752A73}"/>
                </a:ext>
              </a:extLst>
            </p:cNvPr>
            <p:cNvSpPr/>
            <p:nvPr/>
          </p:nvSpPr>
          <p:spPr>
            <a:xfrm>
              <a:off x="11257642" y="2162629"/>
              <a:ext cx="934358" cy="4704897"/>
            </a:xfrm>
            <a:custGeom>
              <a:avLst/>
              <a:gdLst>
                <a:gd name="connsiteX0" fmla="*/ 0 w 515258"/>
                <a:gd name="connsiteY0" fmla="*/ 4695372 h 4695372"/>
                <a:gd name="connsiteX1" fmla="*/ 515258 w 515258"/>
                <a:gd name="connsiteY1" fmla="*/ 0 h 4695372"/>
                <a:gd name="connsiteX2" fmla="*/ 515258 w 515258"/>
                <a:gd name="connsiteY2" fmla="*/ 4695372 h 4695372"/>
                <a:gd name="connsiteX3" fmla="*/ 0 w 515258"/>
                <a:gd name="connsiteY3" fmla="*/ 4695372 h 4695372"/>
                <a:gd name="connsiteX0" fmla="*/ 0 w 515258"/>
                <a:gd name="connsiteY0" fmla="*/ 4695372 h 4695372"/>
                <a:gd name="connsiteX1" fmla="*/ 210458 w 515258"/>
                <a:gd name="connsiteY1" fmla="*/ 266286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37618 w 515258"/>
                <a:gd name="connsiteY1" fmla="*/ 2898258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515258"/>
                <a:gd name="connsiteY0" fmla="*/ 4695372 h 4695372"/>
                <a:gd name="connsiteX1" fmla="*/ 273832 w 515258"/>
                <a:gd name="connsiteY1" fmla="*/ 2943525 h 4695372"/>
                <a:gd name="connsiteX2" fmla="*/ 515258 w 515258"/>
                <a:gd name="connsiteY2" fmla="*/ 0 h 4695372"/>
                <a:gd name="connsiteX3" fmla="*/ 515258 w 515258"/>
                <a:gd name="connsiteY3" fmla="*/ 4695372 h 4695372"/>
                <a:gd name="connsiteX4" fmla="*/ 0 w 515258"/>
                <a:gd name="connsiteY4" fmla="*/ 4695372 h 4695372"/>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 name="connsiteX0" fmla="*/ 0 w 934358"/>
                <a:gd name="connsiteY0" fmla="*/ 4704897 h 4704897"/>
                <a:gd name="connsiteX1" fmla="*/ 692932 w 934358"/>
                <a:gd name="connsiteY1" fmla="*/ 2943525 h 4704897"/>
                <a:gd name="connsiteX2" fmla="*/ 934358 w 934358"/>
                <a:gd name="connsiteY2" fmla="*/ 0 h 4704897"/>
                <a:gd name="connsiteX3" fmla="*/ 934358 w 934358"/>
                <a:gd name="connsiteY3" fmla="*/ 4695372 h 4704897"/>
                <a:gd name="connsiteX4" fmla="*/ 0 w 934358"/>
                <a:gd name="connsiteY4" fmla="*/ 4704897 h 4704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4358" h="4704897">
                  <a:moveTo>
                    <a:pt x="0" y="4704897"/>
                  </a:moveTo>
                  <a:cubicBezTo>
                    <a:pt x="431002" y="4251123"/>
                    <a:pt x="585780" y="3644949"/>
                    <a:pt x="692932" y="2943525"/>
                  </a:cubicBezTo>
                  <a:cubicBezTo>
                    <a:pt x="839799" y="2058920"/>
                    <a:pt x="841811" y="966086"/>
                    <a:pt x="934358" y="0"/>
                  </a:cubicBezTo>
                  <a:lnTo>
                    <a:pt x="934358" y="4695372"/>
                  </a:lnTo>
                  <a:lnTo>
                    <a:pt x="0" y="4704897"/>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cxnSp>
        <p:nvCxnSpPr>
          <p:cNvPr id="30" name="Straight Connector 29">
            <a:extLst>
              <a:ext uri="{FF2B5EF4-FFF2-40B4-BE49-F238E27FC236}">
                <a16:creationId xmlns:a16="http://schemas.microsoft.com/office/drawing/2014/main" id="{17429CBF-6FC7-47FC-B555-FF2712EDD9D7}"/>
              </a:ext>
            </a:extLst>
          </p:cNvPr>
          <p:cNvCxnSpPr>
            <a:cxnSpLocks/>
          </p:cNvCxnSpPr>
          <p:nvPr userDrawn="1"/>
        </p:nvCxnSpPr>
        <p:spPr>
          <a:xfrm>
            <a:off x="1" y="6616700"/>
            <a:ext cx="898739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1" name="Graphic 30">
            <a:extLst>
              <a:ext uri="{FF2B5EF4-FFF2-40B4-BE49-F238E27FC236}">
                <a16:creationId xmlns:a16="http://schemas.microsoft.com/office/drawing/2014/main" id="{B003EB85-2930-46CF-9A0F-11F6B05E6CEE}"/>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b="24190"/>
          <a:stretch/>
        </p:blipFill>
        <p:spPr>
          <a:xfrm>
            <a:off x="0" y="6257926"/>
            <a:ext cx="499590" cy="558546"/>
          </a:xfrm>
          <a:prstGeom prst="rect">
            <a:avLst/>
          </a:prstGeom>
        </p:spPr>
      </p:pic>
      <p:cxnSp>
        <p:nvCxnSpPr>
          <p:cNvPr id="32" name="Straight Connector 31">
            <a:extLst>
              <a:ext uri="{FF2B5EF4-FFF2-40B4-BE49-F238E27FC236}">
                <a16:creationId xmlns:a16="http://schemas.microsoft.com/office/drawing/2014/main" id="{13E7E4DE-4CE1-461B-8E15-778BC259C4ED}"/>
              </a:ext>
            </a:extLst>
          </p:cNvPr>
          <p:cNvCxnSpPr>
            <a:cxnSpLocks/>
          </p:cNvCxnSpPr>
          <p:nvPr userDrawn="1"/>
        </p:nvCxnSpPr>
        <p:spPr>
          <a:xfrm>
            <a:off x="0" y="1042857"/>
            <a:ext cx="9144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Freeform: Shape 32">
            <a:extLst>
              <a:ext uri="{FF2B5EF4-FFF2-40B4-BE49-F238E27FC236}">
                <a16:creationId xmlns:a16="http://schemas.microsoft.com/office/drawing/2014/main" id="{94EFD942-8B96-475E-9A4D-A02434966015}"/>
              </a:ext>
            </a:extLst>
          </p:cNvPr>
          <p:cNvSpPr/>
          <p:nvPr userDrawn="1"/>
        </p:nvSpPr>
        <p:spPr>
          <a:xfrm rot="10800000">
            <a:off x="85728" y="-3"/>
            <a:ext cx="873323" cy="990602"/>
          </a:xfrm>
          <a:custGeom>
            <a:avLst/>
            <a:gdLst>
              <a:gd name="connsiteX0" fmla="*/ 1371601 w 2743200"/>
              <a:gd name="connsiteY0" fmla="*/ 0 h 2089775"/>
              <a:gd name="connsiteX1" fmla="*/ 1543349 w 2743200"/>
              <a:gd name="connsiteY1" fmla="*/ 53449 h 2089775"/>
              <a:gd name="connsiteX2" fmla="*/ 1594043 w 2743200"/>
              <a:gd name="connsiteY2" fmla="*/ 109939 h 2089775"/>
              <a:gd name="connsiteX3" fmla="*/ 1594896 w 2743200"/>
              <a:gd name="connsiteY3" fmla="*/ 109939 h 2089775"/>
              <a:gd name="connsiteX4" fmla="*/ 2743200 w 2743200"/>
              <a:gd name="connsiteY4" fmla="*/ 2089775 h 2089775"/>
              <a:gd name="connsiteX5" fmla="*/ 0 w 2743200"/>
              <a:gd name="connsiteY5" fmla="*/ 2089775 h 2089775"/>
              <a:gd name="connsiteX6" fmla="*/ 1148305 w 2743200"/>
              <a:gd name="connsiteY6" fmla="*/ 109939 h 2089775"/>
              <a:gd name="connsiteX7" fmla="*/ 1149160 w 2743200"/>
              <a:gd name="connsiteY7" fmla="*/ 109939 h 2089775"/>
              <a:gd name="connsiteX8" fmla="*/ 1199854 w 2743200"/>
              <a:gd name="connsiteY8" fmla="*/ 53449 h 2089775"/>
              <a:gd name="connsiteX9" fmla="*/ 1371601 w 2743200"/>
              <a:gd name="connsiteY9" fmla="*/ 0 h 208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200" h="2089775">
                <a:moveTo>
                  <a:pt x="1371601" y="0"/>
                </a:moveTo>
                <a:cubicBezTo>
                  <a:pt x="1438673" y="0"/>
                  <a:pt x="1499395" y="20425"/>
                  <a:pt x="1543349" y="53449"/>
                </a:cubicBezTo>
                <a:lnTo>
                  <a:pt x="1594043" y="109939"/>
                </a:lnTo>
                <a:lnTo>
                  <a:pt x="1594896" y="109939"/>
                </a:lnTo>
                <a:lnTo>
                  <a:pt x="2743200" y="2089775"/>
                </a:lnTo>
                <a:lnTo>
                  <a:pt x="0" y="2089775"/>
                </a:lnTo>
                <a:lnTo>
                  <a:pt x="1148305" y="109939"/>
                </a:lnTo>
                <a:lnTo>
                  <a:pt x="1149160" y="109939"/>
                </a:lnTo>
                <a:lnTo>
                  <a:pt x="1199854" y="53449"/>
                </a:lnTo>
                <a:cubicBezTo>
                  <a:pt x="1243808" y="20425"/>
                  <a:pt x="1304530" y="0"/>
                  <a:pt x="1371601" y="0"/>
                </a:cubicBezTo>
                <a:close/>
              </a:path>
            </a:pathLst>
          </a:custGeom>
          <a:gradFill flip="none" rotWithShape="1">
            <a:gsLst>
              <a:gs pos="0">
                <a:schemeClr val="accent2">
                  <a:lumMod val="67000"/>
                </a:schemeClr>
              </a:gs>
              <a:gs pos="9000">
                <a:schemeClr val="accent2">
                  <a:lumMod val="97000"/>
                  <a:lumOff val="3000"/>
                </a:schemeClr>
              </a:gs>
              <a:gs pos="100000">
                <a:schemeClr val="accent2">
                  <a:lumMod val="60000"/>
                  <a:lumOff val="4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Isosceles Triangle 33">
            <a:extLst>
              <a:ext uri="{FF2B5EF4-FFF2-40B4-BE49-F238E27FC236}">
                <a16:creationId xmlns:a16="http://schemas.microsoft.com/office/drawing/2014/main" id="{93DA3E48-B9EB-413F-922C-C321D6A3447F}"/>
              </a:ext>
            </a:extLst>
          </p:cNvPr>
          <p:cNvSpPr>
            <a:spLocks/>
          </p:cNvSpPr>
          <p:nvPr userDrawn="1"/>
        </p:nvSpPr>
        <p:spPr>
          <a:xfrm>
            <a:off x="923331" y="0"/>
            <a:ext cx="69652" cy="84978"/>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Isosceles Triangle 34">
            <a:extLst>
              <a:ext uri="{FF2B5EF4-FFF2-40B4-BE49-F238E27FC236}">
                <a16:creationId xmlns:a16="http://schemas.microsoft.com/office/drawing/2014/main" id="{C4897857-8AC6-4D28-9DA2-422E66F53631}"/>
              </a:ext>
            </a:extLst>
          </p:cNvPr>
          <p:cNvSpPr>
            <a:spLocks/>
          </p:cNvSpPr>
          <p:nvPr userDrawn="1"/>
        </p:nvSpPr>
        <p:spPr>
          <a:xfrm>
            <a:off x="54177" y="0"/>
            <a:ext cx="69652" cy="84978"/>
          </a:xfrm>
          <a:prstGeom prst="triangl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36" name="Straight Connector 35">
            <a:extLst>
              <a:ext uri="{FF2B5EF4-FFF2-40B4-BE49-F238E27FC236}">
                <a16:creationId xmlns:a16="http://schemas.microsoft.com/office/drawing/2014/main" id="{3087D1A8-A2A1-4EC0-9B52-98B3FC251084}"/>
              </a:ext>
            </a:extLst>
          </p:cNvPr>
          <p:cNvCxnSpPr>
            <a:cxnSpLocks/>
          </p:cNvCxnSpPr>
          <p:nvPr userDrawn="1"/>
        </p:nvCxnSpPr>
        <p:spPr>
          <a:xfrm>
            <a:off x="0" y="84978"/>
            <a:ext cx="127635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Parallelogram 36">
            <a:extLst>
              <a:ext uri="{FF2B5EF4-FFF2-40B4-BE49-F238E27FC236}">
                <a16:creationId xmlns:a16="http://schemas.microsoft.com/office/drawing/2014/main" id="{351EB690-D335-40C8-ADC9-669224B31DA0}"/>
              </a:ext>
            </a:extLst>
          </p:cNvPr>
          <p:cNvSpPr>
            <a:spLocks/>
          </p:cNvSpPr>
          <p:nvPr userDrawn="1"/>
        </p:nvSpPr>
        <p:spPr>
          <a:xfrm>
            <a:off x="8576938" y="0"/>
            <a:ext cx="137993" cy="84978"/>
          </a:xfrm>
          <a:prstGeom prst="parallelogram">
            <a:avLst/>
          </a:prstGeom>
          <a:solidFill>
            <a:schemeClr val="accent1"/>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Parallelogram 37">
            <a:extLst>
              <a:ext uri="{FF2B5EF4-FFF2-40B4-BE49-F238E27FC236}">
                <a16:creationId xmlns:a16="http://schemas.microsoft.com/office/drawing/2014/main" id="{84282F30-8951-44F9-BD83-3D42694F5DD8}"/>
              </a:ext>
            </a:extLst>
          </p:cNvPr>
          <p:cNvSpPr>
            <a:spLocks/>
          </p:cNvSpPr>
          <p:nvPr userDrawn="1"/>
        </p:nvSpPr>
        <p:spPr>
          <a:xfrm>
            <a:off x="8887989" y="0"/>
            <a:ext cx="137993" cy="84978"/>
          </a:xfrm>
          <a:prstGeom prst="parallelogram">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Parallelogram 39">
            <a:extLst>
              <a:ext uri="{FF2B5EF4-FFF2-40B4-BE49-F238E27FC236}">
                <a16:creationId xmlns:a16="http://schemas.microsoft.com/office/drawing/2014/main" id="{097E7787-0EB7-46BD-B4E2-D216C7B161AF}"/>
              </a:ext>
            </a:extLst>
          </p:cNvPr>
          <p:cNvSpPr/>
          <p:nvPr userDrawn="1"/>
        </p:nvSpPr>
        <p:spPr>
          <a:xfrm>
            <a:off x="8732463" y="0"/>
            <a:ext cx="137993" cy="84978"/>
          </a:xfrm>
          <a:prstGeom prst="parallelogram">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1" name="Freeform: Shape 40">
            <a:extLst>
              <a:ext uri="{FF2B5EF4-FFF2-40B4-BE49-F238E27FC236}">
                <a16:creationId xmlns:a16="http://schemas.microsoft.com/office/drawing/2014/main" id="{06F87FCE-004B-4571-B146-7A26C374528D}"/>
              </a:ext>
            </a:extLst>
          </p:cNvPr>
          <p:cNvSpPr>
            <a:spLocks/>
          </p:cNvSpPr>
          <p:nvPr userDrawn="1"/>
        </p:nvSpPr>
        <p:spPr>
          <a:xfrm>
            <a:off x="9043512" y="0"/>
            <a:ext cx="100488" cy="84978"/>
          </a:xfrm>
          <a:custGeom>
            <a:avLst/>
            <a:gdLst>
              <a:gd name="connsiteX0" fmla="*/ 21245 w 133984"/>
              <a:gd name="connsiteY0" fmla="*/ 0 h 84978"/>
              <a:gd name="connsiteX1" fmla="*/ 133984 w 133984"/>
              <a:gd name="connsiteY1" fmla="*/ 0 h 84978"/>
              <a:gd name="connsiteX2" fmla="*/ 133984 w 133984"/>
              <a:gd name="connsiteY2" fmla="*/ 84978 h 84978"/>
              <a:gd name="connsiteX3" fmla="*/ 0 w 133984"/>
              <a:gd name="connsiteY3" fmla="*/ 84978 h 84978"/>
            </a:gdLst>
            <a:ahLst/>
            <a:cxnLst>
              <a:cxn ang="0">
                <a:pos x="connsiteX0" y="connsiteY0"/>
              </a:cxn>
              <a:cxn ang="0">
                <a:pos x="connsiteX1" y="connsiteY1"/>
              </a:cxn>
              <a:cxn ang="0">
                <a:pos x="connsiteX2" y="connsiteY2"/>
              </a:cxn>
              <a:cxn ang="0">
                <a:pos x="connsiteX3" y="connsiteY3"/>
              </a:cxn>
            </a:cxnLst>
            <a:rect l="l" t="t" r="r" b="b"/>
            <a:pathLst>
              <a:path w="133984" h="84978">
                <a:moveTo>
                  <a:pt x="21245" y="0"/>
                </a:moveTo>
                <a:lnTo>
                  <a:pt x="133984" y="0"/>
                </a:lnTo>
                <a:lnTo>
                  <a:pt x="133984" y="84978"/>
                </a:lnTo>
                <a:lnTo>
                  <a:pt x="0" y="84978"/>
                </a:lnTo>
                <a:close/>
              </a:path>
            </a:pathLst>
          </a:cu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42" name="Graphic 41">
            <a:extLst>
              <a:ext uri="{FF2B5EF4-FFF2-40B4-BE49-F238E27FC236}">
                <a16:creationId xmlns:a16="http://schemas.microsoft.com/office/drawing/2014/main" id="{5A901363-9FC1-4665-BC1F-9B4E5C4A2278}"/>
              </a:ext>
            </a:extLst>
          </p:cNvPr>
          <p:cNvPicPr>
            <a:picLocks noChangeAspect="1"/>
          </p:cNvPicPr>
          <p:nvPr userDrawn="1"/>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95219" r="79181" b="-606"/>
          <a:stretch/>
        </p:blipFill>
        <p:spPr>
          <a:xfrm>
            <a:off x="8064378" y="338426"/>
            <a:ext cx="923014" cy="450982"/>
          </a:xfrm>
          <a:prstGeom prst="rect">
            <a:avLst/>
          </a:prstGeom>
        </p:spPr>
      </p:pic>
      <p:sp>
        <p:nvSpPr>
          <p:cNvPr id="9" name="Text Placeholder 8">
            <a:extLst>
              <a:ext uri="{FF2B5EF4-FFF2-40B4-BE49-F238E27FC236}">
                <a16:creationId xmlns:a16="http://schemas.microsoft.com/office/drawing/2014/main" id="{DD82E81F-B258-4B6F-A74B-7D712CF68B8D}"/>
              </a:ext>
            </a:extLst>
          </p:cNvPr>
          <p:cNvSpPr>
            <a:spLocks noGrp="1"/>
          </p:cNvSpPr>
          <p:nvPr>
            <p:ph type="body" sz="quarter" idx="15" hasCustomPrompt="1"/>
          </p:nvPr>
        </p:nvSpPr>
        <p:spPr>
          <a:xfrm>
            <a:off x="279245" y="221258"/>
            <a:ext cx="456408" cy="415498"/>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ctr">
              <a:defRPr lang="en-US" sz="3000" smtClean="0">
                <a:solidFill>
                  <a:schemeClr val="bg1"/>
                </a:solidFill>
                <a:ea typeface="+mj-ea"/>
                <a:cs typeface="+mj-cs"/>
              </a:defRPr>
            </a:lvl1pPr>
            <a:lvl2pPr>
              <a:defRPr lang="en-US" sz="1800" smtClean="0"/>
            </a:lvl2pPr>
            <a:lvl3pPr>
              <a:defRPr lang="en-US" sz="1800" smtClean="0"/>
            </a:lvl3pPr>
            <a:lvl4pPr>
              <a:defRPr lang="en-US" smtClean="0"/>
            </a:lvl4pPr>
            <a:lvl5pPr>
              <a:defRPr lang="en-US"/>
            </a:lvl5pPr>
          </a:lstStyle>
          <a:p>
            <a:pPr lvl="0" algn="ctr">
              <a:spcBef>
                <a:spcPts val="0"/>
              </a:spcBef>
            </a:pPr>
            <a:r>
              <a:rPr lang="en-US" dirty="0"/>
              <a:t>01</a:t>
            </a:r>
          </a:p>
        </p:txBody>
      </p:sp>
      <p:sp>
        <p:nvSpPr>
          <p:cNvPr id="6" name="Slide Number Placeholder 5">
            <a:extLst>
              <a:ext uri="{FF2B5EF4-FFF2-40B4-BE49-F238E27FC236}">
                <a16:creationId xmlns:a16="http://schemas.microsoft.com/office/drawing/2014/main" id="{A047072A-E8FA-4613-AD29-ADDF86A7A3C0}"/>
              </a:ext>
            </a:extLst>
          </p:cNvPr>
          <p:cNvSpPr>
            <a:spLocks noGrp="1"/>
          </p:cNvSpPr>
          <p:nvPr>
            <p:ph type="sldNum" sz="quarter" idx="12"/>
          </p:nvPr>
        </p:nvSpPr>
        <p:spPr>
          <a:xfrm>
            <a:off x="221287" y="6538061"/>
            <a:ext cx="124597" cy="138742"/>
          </a:xfr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lgn="l">
              <a:spcBef>
                <a:spcPts val="0"/>
              </a:spcBef>
              <a:spcAft>
                <a:spcPts val="0"/>
              </a:spcAft>
              <a:defRPr sz="800" baseline="0">
                <a:solidFill>
                  <a:schemeClr val="bg1"/>
                </a:solidFill>
              </a:defRPr>
            </a:lvl1pPr>
          </a:lstStyle>
          <a:p>
            <a:fld id="{1703025F-5038-48A2-8F2E-D28A39FB9727}" type="slidenum">
              <a:rPr lang="en-US" smtClean="0"/>
              <a:pPr/>
              <a:t>‹#›</a:t>
            </a:fld>
            <a:endParaRPr lang="en-US" dirty="0"/>
          </a:p>
        </p:txBody>
      </p:sp>
    </p:spTree>
    <p:extLst>
      <p:ext uri="{BB962C8B-B14F-4D97-AF65-F5344CB8AC3E}">
        <p14:creationId xmlns:p14="http://schemas.microsoft.com/office/powerpoint/2010/main" val="1650824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BDD101-BE95-4010-83B6-F0DF344BA710}"/>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5190"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6BDD101-BE95-4010-83B6-F0DF344BA710}"/>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3EFE0525-6890-4C0D-8EFF-722BBC1BEC8D}"/>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47" name="Freeform: Shape 46">
            <a:extLst>
              <a:ext uri="{FF2B5EF4-FFF2-40B4-BE49-F238E27FC236}">
                <a16:creationId xmlns:a16="http://schemas.microsoft.com/office/drawing/2014/main" id="{BB09CD9A-A1F9-4AD7-BB75-8412F294D0A2}"/>
              </a:ext>
            </a:extLst>
          </p:cNvPr>
          <p:cNvSpPr/>
          <p:nvPr userDrawn="1"/>
        </p:nvSpPr>
        <p:spPr>
          <a:xfrm>
            <a:off x="2" y="323850"/>
            <a:ext cx="5972175" cy="1363264"/>
          </a:xfrm>
          <a:custGeom>
            <a:avLst/>
            <a:gdLst>
              <a:gd name="connsiteX0" fmla="*/ 0 w 7554877"/>
              <a:gd name="connsiteY0" fmla="*/ 0 h 1363264"/>
              <a:gd name="connsiteX1" fmla="*/ 7554877 w 7554877"/>
              <a:gd name="connsiteY1" fmla="*/ 0 h 1363264"/>
              <a:gd name="connsiteX2" fmla="*/ 7134305 w 7554877"/>
              <a:gd name="connsiteY2" fmla="*/ 1363264 h 1363264"/>
              <a:gd name="connsiteX3" fmla="*/ 0 w 7554877"/>
              <a:gd name="connsiteY3" fmla="*/ 1363264 h 1363264"/>
            </a:gdLst>
            <a:ahLst/>
            <a:cxnLst>
              <a:cxn ang="0">
                <a:pos x="connsiteX0" y="connsiteY0"/>
              </a:cxn>
              <a:cxn ang="0">
                <a:pos x="connsiteX1" y="connsiteY1"/>
              </a:cxn>
              <a:cxn ang="0">
                <a:pos x="connsiteX2" y="connsiteY2"/>
              </a:cxn>
              <a:cxn ang="0">
                <a:pos x="connsiteX3" y="connsiteY3"/>
              </a:cxn>
            </a:cxnLst>
            <a:rect l="l" t="t" r="r" b="b"/>
            <a:pathLst>
              <a:path w="7554877" h="1363264">
                <a:moveTo>
                  <a:pt x="0" y="0"/>
                </a:moveTo>
                <a:lnTo>
                  <a:pt x="7554877" y="0"/>
                </a:lnTo>
                <a:lnTo>
                  <a:pt x="7134305" y="1363264"/>
                </a:lnTo>
                <a:lnTo>
                  <a:pt x="0" y="136326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9" name="Group 28">
            <a:extLst>
              <a:ext uri="{FF2B5EF4-FFF2-40B4-BE49-F238E27FC236}">
                <a16:creationId xmlns:a16="http://schemas.microsoft.com/office/drawing/2014/main" id="{772607F1-F033-48EA-B095-6DDC4798F51D}"/>
              </a:ext>
            </a:extLst>
          </p:cNvPr>
          <p:cNvGrpSpPr/>
          <p:nvPr userDrawn="1"/>
        </p:nvGrpSpPr>
        <p:grpSpPr>
          <a:xfrm>
            <a:off x="-22377" y="443768"/>
            <a:ext cx="9092132" cy="7536525"/>
            <a:chOff x="-29835" y="443763"/>
            <a:chExt cx="12122842" cy="7536525"/>
          </a:xfrm>
        </p:grpSpPr>
        <p:sp>
          <p:nvSpPr>
            <p:cNvPr id="30" name="Freeform: Shape 29">
              <a:extLst>
                <a:ext uri="{FF2B5EF4-FFF2-40B4-BE49-F238E27FC236}">
                  <a16:creationId xmlns:a16="http://schemas.microsoft.com/office/drawing/2014/main" id="{62C5E091-506D-47BB-B42A-DEECAEBA3DB2}"/>
                </a:ext>
              </a:extLst>
            </p:cNvPr>
            <p:cNvSpPr/>
            <p:nvPr/>
          </p:nvSpPr>
          <p:spPr>
            <a:xfrm rot="20667996" flipH="1">
              <a:off x="6305232" y="1250621"/>
              <a:ext cx="5787775" cy="6319471"/>
            </a:xfrm>
            <a:custGeom>
              <a:avLst/>
              <a:gdLst>
                <a:gd name="connsiteX0" fmla="*/ 2575063 w 5787775"/>
                <a:gd name="connsiteY0" fmla="*/ 0 h 6319471"/>
                <a:gd name="connsiteX1" fmla="*/ 0 w 5787775"/>
                <a:gd name="connsiteY1" fmla="*/ 3924097 h 6319471"/>
                <a:gd name="connsiteX2" fmla="*/ 665800 w 5787775"/>
                <a:gd name="connsiteY2" fmla="*/ 6319471 h 6319471"/>
                <a:gd name="connsiteX3" fmla="*/ 5787775 w 5787775"/>
                <a:gd name="connsiteY3" fmla="*/ 4895806 h 6319471"/>
              </a:gdLst>
              <a:ahLst/>
              <a:cxnLst>
                <a:cxn ang="0">
                  <a:pos x="connsiteX0" y="connsiteY0"/>
                </a:cxn>
                <a:cxn ang="0">
                  <a:pos x="connsiteX1" y="connsiteY1"/>
                </a:cxn>
                <a:cxn ang="0">
                  <a:pos x="connsiteX2" y="connsiteY2"/>
                </a:cxn>
                <a:cxn ang="0">
                  <a:pos x="connsiteX3" y="connsiteY3"/>
                </a:cxn>
              </a:cxnLst>
              <a:rect l="l" t="t" r="r" b="b"/>
              <a:pathLst>
                <a:path w="5787775" h="6319471">
                  <a:moveTo>
                    <a:pt x="2575063" y="0"/>
                  </a:moveTo>
                  <a:lnTo>
                    <a:pt x="0" y="3924097"/>
                  </a:lnTo>
                  <a:lnTo>
                    <a:pt x="665800" y="6319471"/>
                  </a:lnTo>
                  <a:lnTo>
                    <a:pt x="5787775" y="489580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Freeform: Shape 30">
              <a:extLst>
                <a:ext uri="{FF2B5EF4-FFF2-40B4-BE49-F238E27FC236}">
                  <a16:creationId xmlns:a16="http://schemas.microsoft.com/office/drawing/2014/main" id="{8438C5E2-E87B-4846-975F-DF73399C4C54}"/>
                </a:ext>
              </a:extLst>
            </p:cNvPr>
            <p:cNvSpPr/>
            <p:nvPr/>
          </p:nvSpPr>
          <p:spPr>
            <a:xfrm rot="19752471" flipH="1">
              <a:off x="10239263" y="443763"/>
              <a:ext cx="1456381" cy="6602260"/>
            </a:xfrm>
            <a:custGeom>
              <a:avLst/>
              <a:gdLst>
                <a:gd name="connsiteX0" fmla="*/ 1456381 w 1456381"/>
                <a:gd name="connsiteY0" fmla="*/ 0 h 6602260"/>
                <a:gd name="connsiteX1" fmla="*/ 0 w 1456381"/>
                <a:gd name="connsiteY1" fmla="*/ 4471240 h 6602260"/>
                <a:gd name="connsiteX2" fmla="*/ 1269946 w 1456381"/>
                <a:gd name="connsiteY2" fmla="*/ 6602260 h 6602260"/>
                <a:gd name="connsiteX3" fmla="*/ 1456381 w 1456381"/>
                <a:gd name="connsiteY3" fmla="*/ 6491157 h 6602260"/>
              </a:gdLst>
              <a:ahLst/>
              <a:cxnLst>
                <a:cxn ang="0">
                  <a:pos x="connsiteX0" y="connsiteY0"/>
                </a:cxn>
                <a:cxn ang="0">
                  <a:pos x="connsiteX1" y="connsiteY1"/>
                </a:cxn>
                <a:cxn ang="0">
                  <a:pos x="connsiteX2" y="connsiteY2"/>
                </a:cxn>
                <a:cxn ang="0">
                  <a:pos x="connsiteX3" y="connsiteY3"/>
                </a:cxn>
              </a:cxnLst>
              <a:rect l="l" t="t" r="r" b="b"/>
              <a:pathLst>
                <a:path w="1456381" h="6602260">
                  <a:moveTo>
                    <a:pt x="1456381" y="0"/>
                  </a:moveTo>
                  <a:lnTo>
                    <a:pt x="0" y="4471240"/>
                  </a:lnTo>
                  <a:lnTo>
                    <a:pt x="1269946" y="6602260"/>
                  </a:lnTo>
                  <a:lnTo>
                    <a:pt x="1456381" y="6491157"/>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Freeform: Shape 31">
              <a:extLst>
                <a:ext uri="{FF2B5EF4-FFF2-40B4-BE49-F238E27FC236}">
                  <a16:creationId xmlns:a16="http://schemas.microsoft.com/office/drawing/2014/main" id="{BBDCB51D-D676-4B50-A1C4-94CF8FAA0B61}"/>
                </a:ext>
              </a:extLst>
            </p:cNvPr>
            <p:cNvSpPr/>
            <p:nvPr/>
          </p:nvSpPr>
          <p:spPr>
            <a:xfrm rot="21005245" flipH="1">
              <a:off x="3170426" y="2682531"/>
              <a:ext cx="5516486" cy="4685260"/>
            </a:xfrm>
            <a:custGeom>
              <a:avLst/>
              <a:gdLst>
                <a:gd name="connsiteX0" fmla="*/ 3074550 w 5516486"/>
                <a:gd name="connsiteY0" fmla="*/ 0 h 4685260"/>
                <a:gd name="connsiteX1" fmla="*/ 0 w 5516486"/>
                <a:gd name="connsiteY1" fmla="*/ 4685260 h 4685260"/>
                <a:gd name="connsiteX2" fmla="*/ 5516486 w 5516486"/>
                <a:gd name="connsiteY2" fmla="*/ 3721231 h 4685260"/>
              </a:gdLst>
              <a:ahLst/>
              <a:cxnLst>
                <a:cxn ang="0">
                  <a:pos x="connsiteX0" y="connsiteY0"/>
                </a:cxn>
                <a:cxn ang="0">
                  <a:pos x="connsiteX1" y="connsiteY1"/>
                </a:cxn>
                <a:cxn ang="0">
                  <a:pos x="connsiteX2" y="connsiteY2"/>
                </a:cxn>
              </a:cxnLst>
              <a:rect l="l" t="t" r="r" b="b"/>
              <a:pathLst>
                <a:path w="5516486" h="4685260">
                  <a:moveTo>
                    <a:pt x="3074550" y="0"/>
                  </a:moveTo>
                  <a:lnTo>
                    <a:pt x="0" y="4685260"/>
                  </a:lnTo>
                  <a:lnTo>
                    <a:pt x="5516486" y="3721231"/>
                  </a:lnTo>
                  <a:close/>
                </a:path>
              </a:pathLst>
            </a:custGeom>
            <a:solidFill>
              <a:schemeClr val="accent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Freeform: Shape 32">
              <a:extLst>
                <a:ext uri="{FF2B5EF4-FFF2-40B4-BE49-F238E27FC236}">
                  <a16:creationId xmlns:a16="http://schemas.microsoft.com/office/drawing/2014/main" id="{73F1E937-5EAC-4B4F-B808-355702642731}"/>
                </a:ext>
              </a:extLst>
            </p:cNvPr>
            <p:cNvSpPr/>
            <p:nvPr/>
          </p:nvSpPr>
          <p:spPr>
            <a:xfrm rot="20089720" flipH="1">
              <a:off x="6257683" y="2167884"/>
              <a:ext cx="1728922" cy="5309909"/>
            </a:xfrm>
            <a:custGeom>
              <a:avLst/>
              <a:gdLst>
                <a:gd name="connsiteX0" fmla="*/ 1728922 w 1728922"/>
                <a:gd name="connsiteY0" fmla="*/ 0 h 5309909"/>
                <a:gd name="connsiteX1" fmla="*/ 0 w 1728922"/>
                <a:gd name="connsiteY1" fmla="*/ 5309909 h 5309909"/>
                <a:gd name="connsiteX2" fmla="*/ 1728922 w 1728922"/>
                <a:gd name="connsiteY2" fmla="*/ 4497396 h 5309909"/>
              </a:gdLst>
              <a:ahLst/>
              <a:cxnLst>
                <a:cxn ang="0">
                  <a:pos x="connsiteX0" y="connsiteY0"/>
                </a:cxn>
                <a:cxn ang="0">
                  <a:pos x="connsiteX1" y="connsiteY1"/>
                </a:cxn>
                <a:cxn ang="0">
                  <a:pos x="connsiteX2" y="connsiteY2"/>
                </a:cxn>
              </a:cxnLst>
              <a:rect l="l" t="t" r="r" b="b"/>
              <a:pathLst>
                <a:path w="1728922" h="5309909">
                  <a:moveTo>
                    <a:pt x="1728922" y="0"/>
                  </a:moveTo>
                  <a:lnTo>
                    <a:pt x="0" y="5309909"/>
                  </a:lnTo>
                  <a:lnTo>
                    <a:pt x="1728922" y="4497396"/>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Freeform: Shape 33">
              <a:extLst>
                <a:ext uri="{FF2B5EF4-FFF2-40B4-BE49-F238E27FC236}">
                  <a16:creationId xmlns:a16="http://schemas.microsoft.com/office/drawing/2014/main" id="{FDAF8C2C-9AB4-4EC5-A72D-675081A9F45F}"/>
                </a:ext>
              </a:extLst>
            </p:cNvPr>
            <p:cNvSpPr/>
            <p:nvPr/>
          </p:nvSpPr>
          <p:spPr>
            <a:xfrm rot="2489921" flipH="1">
              <a:off x="-29835" y="1788342"/>
              <a:ext cx="4942656" cy="6191946"/>
            </a:xfrm>
            <a:custGeom>
              <a:avLst/>
              <a:gdLst>
                <a:gd name="connsiteX0" fmla="*/ 2326176 w 4942656"/>
                <a:gd name="connsiteY0" fmla="*/ 0 h 6191946"/>
                <a:gd name="connsiteX1" fmla="*/ 0 w 4942656"/>
                <a:gd name="connsiteY1" fmla="*/ 3544824 h 6191946"/>
                <a:gd name="connsiteX2" fmla="*/ 2992166 w 4942656"/>
                <a:gd name="connsiteY2" fmla="*/ 6191946 h 6191946"/>
                <a:gd name="connsiteX3" fmla="*/ 4942656 w 4942656"/>
                <a:gd name="connsiteY3" fmla="*/ 3987216 h 6191946"/>
              </a:gdLst>
              <a:ahLst/>
              <a:cxnLst>
                <a:cxn ang="0">
                  <a:pos x="connsiteX0" y="connsiteY0"/>
                </a:cxn>
                <a:cxn ang="0">
                  <a:pos x="connsiteX1" y="connsiteY1"/>
                </a:cxn>
                <a:cxn ang="0">
                  <a:pos x="connsiteX2" y="connsiteY2"/>
                </a:cxn>
                <a:cxn ang="0">
                  <a:pos x="connsiteX3" y="connsiteY3"/>
                </a:cxn>
              </a:cxnLst>
              <a:rect l="l" t="t" r="r" b="b"/>
              <a:pathLst>
                <a:path w="4942656" h="6191946">
                  <a:moveTo>
                    <a:pt x="2326176" y="0"/>
                  </a:moveTo>
                  <a:lnTo>
                    <a:pt x="0" y="3544824"/>
                  </a:lnTo>
                  <a:lnTo>
                    <a:pt x="2992166" y="6191946"/>
                  </a:lnTo>
                  <a:lnTo>
                    <a:pt x="4942656" y="398721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Freeform: Shape 34">
              <a:extLst>
                <a:ext uri="{FF2B5EF4-FFF2-40B4-BE49-F238E27FC236}">
                  <a16:creationId xmlns:a16="http://schemas.microsoft.com/office/drawing/2014/main" id="{8BFED708-A2F9-4825-A975-CD68696C274B}"/>
                </a:ext>
              </a:extLst>
            </p:cNvPr>
            <p:cNvSpPr/>
            <p:nvPr/>
          </p:nvSpPr>
          <p:spPr>
            <a:xfrm rot="1574396" flipH="1">
              <a:off x="3493238" y="2705014"/>
              <a:ext cx="1321747" cy="4686659"/>
            </a:xfrm>
            <a:custGeom>
              <a:avLst/>
              <a:gdLst>
                <a:gd name="connsiteX0" fmla="*/ 1321747 w 1321747"/>
                <a:gd name="connsiteY0" fmla="*/ 0 h 4686659"/>
                <a:gd name="connsiteX1" fmla="*/ 0 w 1321747"/>
                <a:gd name="connsiteY1" fmla="*/ 4035134 h 4686659"/>
                <a:gd name="connsiteX2" fmla="*/ 1321747 w 1321747"/>
                <a:gd name="connsiteY2" fmla="*/ 4686659 h 4686659"/>
              </a:gdLst>
              <a:ahLst/>
              <a:cxnLst>
                <a:cxn ang="0">
                  <a:pos x="connsiteX0" y="connsiteY0"/>
                </a:cxn>
                <a:cxn ang="0">
                  <a:pos x="connsiteX1" y="connsiteY1"/>
                </a:cxn>
                <a:cxn ang="0">
                  <a:pos x="connsiteX2" y="connsiteY2"/>
                </a:cxn>
              </a:cxnLst>
              <a:rect l="l" t="t" r="r" b="b"/>
              <a:pathLst>
                <a:path w="1321747" h="4686659">
                  <a:moveTo>
                    <a:pt x="1321747" y="0"/>
                  </a:moveTo>
                  <a:lnTo>
                    <a:pt x="0" y="4035134"/>
                  </a:lnTo>
                  <a:lnTo>
                    <a:pt x="1321747" y="468665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36" name="Group 35">
            <a:extLst>
              <a:ext uri="{FF2B5EF4-FFF2-40B4-BE49-F238E27FC236}">
                <a16:creationId xmlns:a16="http://schemas.microsoft.com/office/drawing/2014/main" id="{32606B04-04FE-485C-BCF3-6441D4A136D5}"/>
              </a:ext>
            </a:extLst>
          </p:cNvPr>
          <p:cNvGrpSpPr/>
          <p:nvPr userDrawn="1"/>
        </p:nvGrpSpPr>
        <p:grpSpPr>
          <a:xfrm>
            <a:off x="6686552" y="85447"/>
            <a:ext cx="2428875" cy="1227462"/>
            <a:chOff x="227847" y="5413829"/>
            <a:chExt cx="3824211" cy="1449458"/>
          </a:xfrm>
        </p:grpSpPr>
        <p:sp>
          <p:nvSpPr>
            <p:cNvPr id="37" name="Rectangle 36">
              <a:extLst>
                <a:ext uri="{FF2B5EF4-FFF2-40B4-BE49-F238E27FC236}">
                  <a16:creationId xmlns:a16="http://schemas.microsoft.com/office/drawing/2014/main" id="{AA8374EA-2E70-4BC5-A463-E61BEF0E4CBF}"/>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8" name="Graphic 37">
              <a:extLst>
                <a:ext uri="{FF2B5EF4-FFF2-40B4-BE49-F238E27FC236}">
                  <a16:creationId xmlns:a16="http://schemas.microsoft.com/office/drawing/2014/main" id="{DDC22BA5-4742-45CA-BF5A-52BC1DD8474C}"/>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9" name="Subtitle 2">
            <a:extLst>
              <a:ext uri="{FF2B5EF4-FFF2-40B4-BE49-F238E27FC236}">
                <a16:creationId xmlns:a16="http://schemas.microsoft.com/office/drawing/2014/main" id="{E3412BC2-65D5-4ADF-BED3-BE9B28B96FB8}"/>
              </a:ext>
            </a:extLst>
          </p:cNvPr>
          <p:cNvSpPr>
            <a:spLocks noGrp="1"/>
          </p:cNvSpPr>
          <p:nvPr>
            <p:ph type="subTitle" idx="1"/>
          </p:nvPr>
        </p:nvSpPr>
        <p:spPr>
          <a:xfrm>
            <a:off x="183358" y="2055413"/>
            <a:ext cx="5024438"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tx1"/>
                </a:solidFill>
              </a:defRPr>
            </a:lvl1pPr>
          </a:lstStyle>
          <a:p>
            <a:pPr marL="0" lvl="0" indent="0">
              <a:spcBef>
                <a:spcPts val="0"/>
              </a:spcBef>
              <a:buNone/>
            </a:pPr>
            <a:r>
              <a:rPr lang="en-US"/>
              <a:t>Click to edit Master subtitle style</a:t>
            </a:r>
            <a:endParaRPr lang="en-US" dirty="0"/>
          </a:p>
        </p:txBody>
      </p:sp>
      <p:sp>
        <p:nvSpPr>
          <p:cNvPr id="40" name="Text Placeholder 20">
            <a:extLst>
              <a:ext uri="{FF2B5EF4-FFF2-40B4-BE49-F238E27FC236}">
                <a16:creationId xmlns:a16="http://schemas.microsoft.com/office/drawing/2014/main" id="{B332E9D7-B7B7-4D0E-8961-707E1AC0DEBC}"/>
              </a:ext>
            </a:extLst>
          </p:cNvPr>
          <p:cNvSpPr>
            <a:spLocks noGrp="1"/>
          </p:cNvSpPr>
          <p:nvPr>
            <p:ph type="body" sz="quarter" idx="13" hasCustomPrompt="1"/>
          </p:nvPr>
        </p:nvSpPr>
        <p:spPr>
          <a:xfrm>
            <a:off x="183357" y="4868131"/>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41" name="Text Placeholder 20">
            <a:extLst>
              <a:ext uri="{FF2B5EF4-FFF2-40B4-BE49-F238E27FC236}">
                <a16:creationId xmlns:a16="http://schemas.microsoft.com/office/drawing/2014/main" id="{3CC2CF07-F2CC-4C74-9957-7C735E00427D}"/>
              </a:ext>
            </a:extLst>
          </p:cNvPr>
          <p:cNvSpPr>
            <a:spLocks noGrp="1"/>
          </p:cNvSpPr>
          <p:nvPr>
            <p:ph type="body" sz="quarter" idx="14" hasCustomPrompt="1"/>
          </p:nvPr>
        </p:nvSpPr>
        <p:spPr>
          <a:xfrm>
            <a:off x="183357" y="575854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42" name="Title 1">
            <a:extLst>
              <a:ext uri="{FF2B5EF4-FFF2-40B4-BE49-F238E27FC236}">
                <a16:creationId xmlns:a16="http://schemas.microsoft.com/office/drawing/2014/main" id="{0765D408-8E62-48D0-A66A-8FC20AA57F71}"/>
              </a:ext>
            </a:extLst>
          </p:cNvPr>
          <p:cNvSpPr>
            <a:spLocks noGrp="1"/>
          </p:cNvSpPr>
          <p:nvPr>
            <p:ph type="ctrTitle"/>
          </p:nvPr>
        </p:nvSpPr>
        <p:spPr>
          <a:xfrm>
            <a:off x="183358" y="451484"/>
            <a:ext cx="5024438"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Tree>
    <p:extLst>
      <p:ext uri="{BB962C8B-B14F-4D97-AF65-F5344CB8AC3E}">
        <p14:creationId xmlns:p14="http://schemas.microsoft.com/office/powerpoint/2010/main" val="25763848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08828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6BDD101-BE95-4010-83B6-F0DF344BA710}"/>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6214"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E6BDD101-BE95-4010-83B6-F0DF344BA710}"/>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3EFE0525-6890-4C0D-8EFF-722BBC1BEC8D}"/>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sp>
        <p:nvSpPr>
          <p:cNvPr id="19" name="Rectangle 18">
            <a:extLst>
              <a:ext uri="{FF2B5EF4-FFF2-40B4-BE49-F238E27FC236}">
                <a16:creationId xmlns:a16="http://schemas.microsoft.com/office/drawing/2014/main" id="{3D7FBEF2-9AD3-43E7-9983-51FFDDAB3B8D}"/>
              </a:ext>
            </a:extLst>
          </p:cNvPr>
          <p:cNvSpPr/>
          <p:nvPr userDrawn="1"/>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Freeform: Shape 19">
            <a:extLst>
              <a:ext uri="{FF2B5EF4-FFF2-40B4-BE49-F238E27FC236}">
                <a16:creationId xmlns:a16="http://schemas.microsoft.com/office/drawing/2014/main" id="{3FDD63DA-9332-4E6C-AFE8-A4A89B92D7A1}"/>
              </a:ext>
            </a:extLst>
          </p:cNvPr>
          <p:cNvSpPr/>
          <p:nvPr userDrawn="1"/>
        </p:nvSpPr>
        <p:spPr>
          <a:xfrm rot="3945333">
            <a:off x="3514194" y="-1258726"/>
            <a:ext cx="2490862" cy="10458269"/>
          </a:xfrm>
          <a:custGeom>
            <a:avLst/>
            <a:gdLst>
              <a:gd name="connsiteX0" fmla="*/ 0 w 2490862"/>
              <a:gd name="connsiteY0" fmla="*/ 0 h 13944358"/>
              <a:gd name="connsiteX1" fmla="*/ 73708 w 2490862"/>
              <a:gd name="connsiteY1" fmla="*/ 33194 h 13944358"/>
              <a:gd name="connsiteX2" fmla="*/ 2490862 w 2490862"/>
              <a:gd name="connsiteY2" fmla="*/ 11238798 h 13944358"/>
              <a:gd name="connsiteX3" fmla="*/ 1272412 w 2490862"/>
              <a:gd name="connsiteY3" fmla="*/ 13944358 h 13944358"/>
              <a:gd name="connsiteX4" fmla="*/ 0 w 2490862"/>
              <a:gd name="connsiteY4" fmla="*/ 13371327 h 13944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0862" h="13944358">
                <a:moveTo>
                  <a:pt x="0" y="0"/>
                </a:moveTo>
                <a:lnTo>
                  <a:pt x="73708" y="33194"/>
                </a:lnTo>
                <a:lnTo>
                  <a:pt x="2490862" y="11238798"/>
                </a:lnTo>
                <a:lnTo>
                  <a:pt x="1272412" y="13944358"/>
                </a:lnTo>
                <a:lnTo>
                  <a:pt x="0" y="13371327"/>
                </a:lnTo>
                <a:close/>
              </a:path>
            </a:pathLst>
          </a:custGeom>
          <a:solidFill>
            <a:schemeClr val="accent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Freeform: Shape 20">
            <a:extLst>
              <a:ext uri="{FF2B5EF4-FFF2-40B4-BE49-F238E27FC236}">
                <a16:creationId xmlns:a16="http://schemas.microsoft.com/office/drawing/2014/main" id="{DA8AB42A-4B08-4339-A62D-44B99B69FCB7}"/>
              </a:ext>
            </a:extLst>
          </p:cNvPr>
          <p:cNvSpPr/>
          <p:nvPr userDrawn="1"/>
        </p:nvSpPr>
        <p:spPr>
          <a:xfrm rot="19551863" flipH="1">
            <a:off x="6318051" y="-298103"/>
            <a:ext cx="1613333" cy="8134794"/>
          </a:xfrm>
          <a:custGeom>
            <a:avLst/>
            <a:gdLst>
              <a:gd name="connsiteX0" fmla="*/ 357995 w 2151110"/>
              <a:gd name="connsiteY0" fmla="*/ 0 h 8134794"/>
              <a:gd name="connsiteX1" fmla="*/ 1 w 2151110"/>
              <a:gd name="connsiteY1" fmla="*/ 242705 h 8134794"/>
              <a:gd name="connsiteX2" fmla="*/ 0 w 2151110"/>
              <a:gd name="connsiteY2" fmla="*/ 7278871 h 8134794"/>
              <a:gd name="connsiteX3" fmla="*/ 580280 w 2151110"/>
              <a:gd name="connsiteY3" fmla="*/ 8134794 h 8134794"/>
              <a:gd name="connsiteX4" fmla="*/ 2151110 w 2151110"/>
              <a:gd name="connsiteY4" fmla="*/ 7069837 h 813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110" h="8134794">
                <a:moveTo>
                  <a:pt x="357995" y="0"/>
                </a:moveTo>
                <a:lnTo>
                  <a:pt x="1" y="242705"/>
                </a:lnTo>
                <a:lnTo>
                  <a:pt x="0" y="7278871"/>
                </a:lnTo>
                <a:lnTo>
                  <a:pt x="580280" y="8134794"/>
                </a:lnTo>
                <a:lnTo>
                  <a:pt x="2151110" y="7069837"/>
                </a:lnTo>
                <a:close/>
              </a:path>
            </a:pathLst>
          </a:custGeom>
          <a:solidFill>
            <a:schemeClr val="accent5">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6" name="Group 35">
            <a:extLst>
              <a:ext uri="{FF2B5EF4-FFF2-40B4-BE49-F238E27FC236}">
                <a16:creationId xmlns:a16="http://schemas.microsoft.com/office/drawing/2014/main" id="{32606B04-04FE-485C-BCF3-6441D4A136D5}"/>
              </a:ext>
            </a:extLst>
          </p:cNvPr>
          <p:cNvGrpSpPr/>
          <p:nvPr userDrawn="1"/>
        </p:nvGrpSpPr>
        <p:grpSpPr>
          <a:xfrm>
            <a:off x="4257677" y="5438497"/>
            <a:ext cx="2428875" cy="1227462"/>
            <a:chOff x="227847" y="5413829"/>
            <a:chExt cx="3824211" cy="1449458"/>
          </a:xfrm>
        </p:grpSpPr>
        <p:sp>
          <p:nvSpPr>
            <p:cNvPr id="37" name="Rectangle 36">
              <a:extLst>
                <a:ext uri="{FF2B5EF4-FFF2-40B4-BE49-F238E27FC236}">
                  <a16:creationId xmlns:a16="http://schemas.microsoft.com/office/drawing/2014/main" id="{AA8374EA-2E70-4BC5-A463-E61BEF0E4CBF}"/>
                </a:ext>
              </a:extLst>
            </p:cNvPr>
            <p:cNvSpPr/>
            <p:nvPr userDrawn="1"/>
          </p:nvSpPr>
          <p:spPr>
            <a:xfrm>
              <a:off x="227847" y="5413829"/>
              <a:ext cx="3824211" cy="1449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8" name="Graphic 37">
              <a:extLst>
                <a:ext uri="{FF2B5EF4-FFF2-40B4-BE49-F238E27FC236}">
                  <a16:creationId xmlns:a16="http://schemas.microsoft.com/office/drawing/2014/main" id="{DDC22BA5-4742-45CA-BF5A-52BC1DD8474C}"/>
                </a:ext>
              </a:extLst>
            </p:cNvPr>
            <p:cNvPicPr>
              <a:picLocks noChangeAspect="1"/>
            </p:cNvPicPr>
            <p:nvPr userDrawn="1"/>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t="95219" r="79181" b="-606"/>
            <a:stretch/>
          </p:blipFill>
          <p:spPr>
            <a:xfrm>
              <a:off x="620896" y="5608210"/>
              <a:ext cx="3038114" cy="1113312"/>
            </a:xfrm>
            <a:prstGeom prst="rect">
              <a:avLst/>
            </a:prstGeom>
          </p:spPr>
        </p:pic>
      </p:grpSp>
      <p:sp>
        <p:nvSpPr>
          <p:cNvPr id="39" name="Subtitle 2">
            <a:extLst>
              <a:ext uri="{FF2B5EF4-FFF2-40B4-BE49-F238E27FC236}">
                <a16:creationId xmlns:a16="http://schemas.microsoft.com/office/drawing/2014/main" id="{E3412BC2-65D5-4ADF-BED3-BE9B28B96FB8}"/>
              </a:ext>
            </a:extLst>
          </p:cNvPr>
          <p:cNvSpPr>
            <a:spLocks noGrp="1"/>
          </p:cNvSpPr>
          <p:nvPr>
            <p:ph type="subTitle" idx="1"/>
          </p:nvPr>
        </p:nvSpPr>
        <p:spPr>
          <a:xfrm>
            <a:off x="240508" y="2112563"/>
            <a:ext cx="5024438"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40" name="Text Placeholder 20">
            <a:extLst>
              <a:ext uri="{FF2B5EF4-FFF2-40B4-BE49-F238E27FC236}">
                <a16:creationId xmlns:a16="http://schemas.microsoft.com/office/drawing/2014/main" id="{B332E9D7-B7B7-4D0E-8961-707E1AC0DEBC}"/>
              </a:ext>
            </a:extLst>
          </p:cNvPr>
          <p:cNvSpPr>
            <a:spLocks noGrp="1"/>
          </p:cNvSpPr>
          <p:nvPr>
            <p:ph type="body" sz="quarter" idx="13" hasCustomPrompt="1"/>
          </p:nvPr>
        </p:nvSpPr>
        <p:spPr>
          <a:xfrm>
            <a:off x="240508" y="5553931"/>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41" name="Text Placeholder 20">
            <a:extLst>
              <a:ext uri="{FF2B5EF4-FFF2-40B4-BE49-F238E27FC236}">
                <a16:creationId xmlns:a16="http://schemas.microsoft.com/office/drawing/2014/main" id="{3CC2CF07-F2CC-4C74-9957-7C735E00427D}"/>
              </a:ext>
            </a:extLst>
          </p:cNvPr>
          <p:cNvSpPr>
            <a:spLocks noGrp="1"/>
          </p:cNvSpPr>
          <p:nvPr>
            <p:ph type="body" sz="quarter" idx="14" hasCustomPrompt="1"/>
          </p:nvPr>
        </p:nvSpPr>
        <p:spPr>
          <a:xfrm>
            <a:off x="240508" y="6177649"/>
            <a:ext cx="2081468"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l">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www.nephros.com</a:t>
            </a:r>
          </a:p>
        </p:txBody>
      </p:sp>
      <p:sp>
        <p:nvSpPr>
          <p:cNvPr id="42" name="Title 1">
            <a:extLst>
              <a:ext uri="{FF2B5EF4-FFF2-40B4-BE49-F238E27FC236}">
                <a16:creationId xmlns:a16="http://schemas.microsoft.com/office/drawing/2014/main" id="{0765D408-8E62-48D0-A66A-8FC20AA57F71}"/>
              </a:ext>
            </a:extLst>
          </p:cNvPr>
          <p:cNvSpPr>
            <a:spLocks noGrp="1"/>
          </p:cNvSpPr>
          <p:nvPr>
            <p:ph type="ctrTitle"/>
          </p:nvPr>
        </p:nvSpPr>
        <p:spPr>
          <a:xfrm>
            <a:off x="240508" y="508634"/>
            <a:ext cx="5024438" cy="11079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Tree>
    <p:extLst>
      <p:ext uri="{BB962C8B-B14F-4D97-AF65-F5344CB8AC3E}">
        <p14:creationId xmlns:p14="http://schemas.microsoft.com/office/powerpoint/2010/main" val="3669311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723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AECD3D1D-7746-4E0B-A15D-47B44A432EAF}"/>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a:extLst>
              <a:ext uri="{FF2B5EF4-FFF2-40B4-BE49-F238E27FC236}">
                <a16:creationId xmlns:a16="http://schemas.microsoft.com/office/drawing/2014/main" id="{4FBA8FBD-7612-4F73-A6CA-EC9FE5E499BA}"/>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333414" y="334749"/>
            <a:ext cx="1967338" cy="961237"/>
          </a:xfrm>
          <a:prstGeom prst="rect">
            <a:avLst/>
          </a:prstGeom>
        </p:spPr>
      </p:pic>
      <p:sp>
        <p:nvSpPr>
          <p:cNvPr id="18" name="Freeform: Shape 17">
            <a:extLst>
              <a:ext uri="{FF2B5EF4-FFF2-40B4-BE49-F238E27FC236}">
                <a16:creationId xmlns:a16="http://schemas.microsoft.com/office/drawing/2014/main" id="{5CB3C18D-240F-4629-873D-24DDF93A29B9}"/>
              </a:ext>
            </a:extLst>
          </p:cNvPr>
          <p:cNvSpPr/>
          <p:nvPr userDrawn="1"/>
        </p:nvSpPr>
        <p:spPr>
          <a:xfrm>
            <a:off x="3" y="1592831"/>
            <a:ext cx="4468762" cy="5265173"/>
          </a:xfrm>
          <a:custGeom>
            <a:avLst/>
            <a:gdLst>
              <a:gd name="connsiteX0" fmla="*/ 0 w 5958349"/>
              <a:gd name="connsiteY0" fmla="*/ 0 h 5265173"/>
              <a:gd name="connsiteX1" fmla="*/ 5958349 w 5958349"/>
              <a:gd name="connsiteY1" fmla="*/ 0 h 5265173"/>
              <a:gd name="connsiteX2" fmla="*/ 3192712 w 5958349"/>
              <a:gd name="connsiteY2" fmla="*/ 5265173 h 5265173"/>
              <a:gd name="connsiteX3" fmla="*/ 0 w 5958349"/>
              <a:gd name="connsiteY3" fmla="*/ 5265173 h 5265173"/>
            </a:gdLst>
            <a:ahLst/>
            <a:cxnLst>
              <a:cxn ang="0">
                <a:pos x="connsiteX0" y="connsiteY0"/>
              </a:cxn>
              <a:cxn ang="0">
                <a:pos x="connsiteX1" y="connsiteY1"/>
              </a:cxn>
              <a:cxn ang="0">
                <a:pos x="connsiteX2" y="connsiteY2"/>
              </a:cxn>
              <a:cxn ang="0">
                <a:pos x="connsiteX3" y="connsiteY3"/>
              </a:cxn>
            </a:cxnLst>
            <a:rect l="l" t="t" r="r" b="b"/>
            <a:pathLst>
              <a:path w="5958349" h="5265173">
                <a:moveTo>
                  <a:pt x="0" y="0"/>
                </a:moveTo>
                <a:lnTo>
                  <a:pt x="5958349" y="0"/>
                </a:lnTo>
                <a:lnTo>
                  <a:pt x="3192712" y="5265173"/>
                </a:lnTo>
                <a:lnTo>
                  <a:pt x="0" y="5265173"/>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33414" y="3534166"/>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33414" y="1405111"/>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33414" y="4333625"/>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333414" y="5133083"/>
            <a:ext cx="2952463"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5075381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826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1" name="Picture 34" descr="https://www.nephros.com/wp-content/uploads/2016/09/Dialysis-Filter.jpg">
            <a:extLst>
              <a:ext uri="{FF2B5EF4-FFF2-40B4-BE49-F238E27FC236}">
                <a16:creationId xmlns:a16="http://schemas.microsoft.com/office/drawing/2014/main" id="{DF40B5CE-8944-481E-8384-5B59EDA281DA}"/>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39" r="6801"/>
          <a:stretch/>
        </p:blipFill>
        <p:spPr bwMode="auto">
          <a:xfrm>
            <a:off x="-1"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id="{60D2F4CD-75EA-4B01-8089-143440D9925D}"/>
              </a:ext>
            </a:extLst>
          </p:cNvPr>
          <p:cNvSpPr/>
          <p:nvPr userDrawn="1"/>
        </p:nvSpPr>
        <p:spPr>
          <a:xfrm>
            <a:off x="3" y="0"/>
            <a:ext cx="4004188" cy="6858000"/>
          </a:xfrm>
          <a:custGeom>
            <a:avLst/>
            <a:gdLst>
              <a:gd name="connsiteX0" fmla="*/ 0 w 5338917"/>
              <a:gd name="connsiteY0" fmla="*/ 0 h 6858000"/>
              <a:gd name="connsiteX1" fmla="*/ 5338917 w 5338917"/>
              <a:gd name="connsiteY1" fmla="*/ 0 h 6858000"/>
              <a:gd name="connsiteX2" fmla="*/ 3584237 w 5338917"/>
              <a:gd name="connsiteY2" fmla="*/ 6858000 h 6858000"/>
              <a:gd name="connsiteX3" fmla="*/ 0 w 533891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38917" h="6858000">
                <a:moveTo>
                  <a:pt x="0" y="0"/>
                </a:moveTo>
                <a:lnTo>
                  <a:pt x="5338917" y="0"/>
                </a:lnTo>
                <a:lnTo>
                  <a:pt x="3584237" y="6858000"/>
                </a:lnTo>
                <a:lnTo>
                  <a:pt x="0" y="6858000"/>
                </a:lnTo>
                <a:close/>
              </a:path>
            </a:pathLst>
          </a:cu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Freeform: Shape 12">
            <a:extLst>
              <a:ext uri="{FF2B5EF4-FFF2-40B4-BE49-F238E27FC236}">
                <a16:creationId xmlns:a16="http://schemas.microsoft.com/office/drawing/2014/main" id="{F3EF06FE-3700-4FCF-B269-44846011B2A2}"/>
              </a:ext>
            </a:extLst>
          </p:cNvPr>
          <p:cNvSpPr/>
          <p:nvPr userDrawn="1"/>
        </p:nvSpPr>
        <p:spPr>
          <a:xfrm>
            <a:off x="3" y="0"/>
            <a:ext cx="3886661" cy="6858000"/>
          </a:xfrm>
          <a:custGeom>
            <a:avLst/>
            <a:gdLst>
              <a:gd name="connsiteX0" fmla="*/ 0 w 5182215"/>
              <a:gd name="connsiteY0" fmla="*/ 0 h 6858000"/>
              <a:gd name="connsiteX1" fmla="*/ 5182215 w 5182215"/>
              <a:gd name="connsiteY1" fmla="*/ 0 h 6858000"/>
              <a:gd name="connsiteX2" fmla="*/ 3467715 w 5182215"/>
              <a:gd name="connsiteY2" fmla="*/ 6858000 h 6858000"/>
              <a:gd name="connsiteX3" fmla="*/ 0 w 518221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82215" h="6858000">
                <a:moveTo>
                  <a:pt x="0" y="0"/>
                </a:moveTo>
                <a:lnTo>
                  <a:pt x="5182215" y="0"/>
                </a:lnTo>
                <a:lnTo>
                  <a:pt x="3467715" y="6858000"/>
                </a:lnTo>
                <a:lnTo>
                  <a:pt x="0" y="6858000"/>
                </a:lnTo>
                <a:close/>
              </a:path>
            </a:pathLst>
          </a:custGeom>
          <a:solidFill>
            <a:schemeClr val="accent2">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4" name="Graphic 13">
            <a:extLst>
              <a:ext uri="{FF2B5EF4-FFF2-40B4-BE49-F238E27FC236}">
                <a16:creationId xmlns:a16="http://schemas.microsoft.com/office/drawing/2014/main" id="{8BEF319C-1C6C-48E1-B9F6-EEEEA0B7C8CB}"/>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399780" y="5631295"/>
            <a:ext cx="1967338" cy="961237"/>
          </a:xfrm>
          <a:prstGeom prst="rect">
            <a:avLst/>
          </a:prstGeom>
        </p:spPr>
      </p:pic>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333414" y="18763"/>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333414" y="2147818"/>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333414" y="2947277"/>
            <a:ext cx="26669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333414" y="3746735"/>
            <a:ext cx="2666963"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1562781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9286"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5" name="Picture 34" descr="https://www.nephros.com/wp-content/uploads/2016/09/Dialysis-Filter.jpg">
            <a:extLst>
              <a:ext uri="{FF2B5EF4-FFF2-40B4-BE49-F238E27FC236}">
                <a16:creationId xmlns:a16="http://schemas.microsoft.com/office/drawing/2014/main" id="{489A19AA-0C47-45DA-8CD7-5736CB2EA81C}"/>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11335" r="3505"/>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D2840CEA-625F-4DA9-8F80-932CCEC741C6}"/>
              </a:ext>
            </a:extLst>
          </p:cNvPr>
          <p:cNvSpPr/>
          <p:nvPr userDrawn="1"/>
        </p:nvSpPr>
        <p:spPr>
          <a:xfrm>
            <a:off x="0" y="5181600"/>
            <a:ext cx="9144000" cy="1676400"/>
          </a:xfrm>
          <a:prstGeom prst="rect">
            <a:avLst/>
          </a:prstGeom>
          <a:gradFill flip="none" rotWithShape="1">
            <a:gsLst>
              <a:gs pos="33000">
                <a:schemeClr val="tx2">
                  <a:alpha val="8000"/>
                </a:schemeClr>
              </a:gs>
              <a:gs pos="100000">
                <a:schemeClr val="accent2">
                  <a:alpha val="3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7" name="Freeform: Shape 16">
            <a:extLst>
              <a:ext uri="{FF2B5EF4-FFF2-40B4-BE49-F238E27FC236}">
                <a16:creationId xmlns:a16="http://schemas.microsoft.com/office/drawing/2014/main" id="{62A2A44D-46D4-44FD-97E5-0A63F8F9093B}"/>
              </a:ext>
            </a:extLst>
          </p:cNvPr>
          <p:cNvSpPr/>
          <p:nvPr userDrawn="1"/>
        </p:nvSpPr>
        <p:spPr>
          <a:xfrm>
            <a:off x="2" y="0"/>
            <a:ext cx="4371975" cy="5067946"/>
          </a:xfrm>
          <a:custGeom>
            <a:avLst/>
            <a:gdLst>
              <a:gd name="connsiteX0" fmla="*/ 0 w 6686550"/>
              <a:gd name="connsiteY0" fmla="*/ 0 h 6858000"/>
              <a:gd name="connsiteX1" fmla="*/ 6686550 w 6686550"/>
              <a:gd name="connsiteY1" fmla="*/ 0 h 6858000"/>
              <a:gd name="connsiteX2" fmla="*/ 4972050 w 6686550"/>
              <a:gd name="connsiteY2" fmla="*/ 6858000 h 6858000"/>
              <a:gd name="connsiteX3" fmla="*/ 0 w 66865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86550" h="6858000">
                <a:moveTo>
                  <a:pt x="0" y="0"/>
                </a:moveTo>
                <a:lnTo>
                  <a:pt x="6686550" y="0"/>
                </a:lnTo>
                <a:lnTo>
                  <a:pt x="4972050" y="6858000"/>
                </a:lnTo>
                <a:lnTo>
                  <a:pt x="0" y="6858000"/>
                </a:lnTo>
                <a:close/>
              </a:path>
            </a:pathLst>
          </a:cu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pic>
        <p:nvPicPr>
          <p:cNvPr id="18" name="Graphic 17">
            <a:extLst>
              <a:ext uri="{FF2B5EF4-FFF2-40B4-BE49-F238E27FC236}">
                <a16:creationId xmlns:a16="http://schemas.microsoft.com/office/drawing/2014/main" id="{B9505C67-6441-4F7C-8564-8F688CE3210D}"/>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248836" y="5402848"/>
            <a:ext cx="2588342" cy="1264657"/>
          </a:xfrm>
          <a:prstGeom prst="rect">
            <a:avLst/>
          </a:prstGeom>
        </p:spPr>
      </p:pic>
      <p:sp>
        <p:nvSpPr>
          <p:cNvPr id="19" name="Freeform: Shape 18">
            <a:extLst>
              <a:ext uri="{FF2B5EF4-FFF2-40B4-BE49-F238E27FC236}">
                <a16:creationId xmlns:a16="http://schemas.microsoft.com/office/drawing/2014/main" id="{48567639-96DA-4A3B-ADEF-5EB328CE74BD}"/>
              </a:ext>
            </a:extLst>
          </p:cNvPr>
          <p:cNvSpPr/>
          <p:nvPr userDrawn="1"/>
        </p:nvSpPr>
        <p:spPr>
          <a:xfrm flipH="1" flipV="1">
            <a:off x="3343276" y="0"/>
            <a:ext cx="5800725" cy="5067946"/>
          </a:xfrm>
          <a:custGeom>
            <a:avLst/>
            <a:gdLst>
              <a:gd name="connsiteX0" fmla="*/ 6239608 w 7734300"/>
              <a:gd name="connsiteY0" fmla="*/ 5067946 h 5067946"/>
              <a:gd name="connsiteX1" fmla="*/ 1905000 w 7734300"/>
              <a:gd name="connsiteY1" fmla="*/ 5067946 h 5067946"/>
              <a:gd name="connsiteX2" fmla="*/ 0 w 7734300"/>
              <a:gd name="connsiteY2" fmla="*/ 5067946 h 5067946"/>
              <a:gd name="connsiteX3" fmla="*/ 0 w 7734300"/>
              <a:gd name="connsiteY3" fmla="*/ 0 h 5067946"/>
              <a:gd name="connsiteX4" fmla="*/ 1905000 w 7734300"/>
              <a:gd name="connsiteY4" fmla="*/ 0 h 5067946"/>
              <a:gd name="connsiteX5" fmla="*/ 7734300 w 7734300"/>
              <a:gd name="connsiteY5" fmla="*/ 0 h 506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4300" h="5067946">
                <a:moveTo>
                  <a:pt x="6239608" y="5067946"/>
                </a:moveTo>
                <a:lnTo>
                  <a:pt x="1905000" y="5067946"/>
                </a:lnTo>
                <a:lnTo>
                  <a:pt x="0" y="5067946"/>
                </a:lnTo>
                <a:lnTo>
                  <a:pt x="0" y="0"/>
                </a:lnTo>
                <a:lnTo>
                  <a:pt x="1905000" y="0"/>
                </a:lnTo>
                <a:lnTo>
                  <a:pt x="7734300" y="0"/>
                </a:lnTo>
                <a:close/>
              </a:path>
            </a:pathLst>
          </a:custGeom>
          <a:solidFill>
            <a:schemeClr val="tx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248837" y="18763"/>
            <a:ext cx="3299907"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248837" y="2147818"/>
            <a:ext cx="3299907"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248837" y="2947277"/>
            <a:ext cx="2998629"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248837" y="3746735"/>
            <a:ext cx="2998629" cy="664797"/>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329624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ACE6A7-7610-475E-A4C0-E2154E9F3FF3}"/>
              </a:ext>
            </a:extLst>
          </p:cNvPr>
          <p:cNvGraphicFramePr>
            <a:graphicFrameLocks noChangeAspect="1"/>
          </p:cNvGraphicFramePr>
          <p:nvPr userDrawn="1">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0310"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13ACE6A7-7610-475E-A4C0-E2154E9F3FF3}"/>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4FA94D8-B81F-4718-9442-1217EDB8C9D8}"/>
              </a:ext>
            </a:extLst>
          </p:cNvPr>
          <p:cNvSpPr/>
          <p:nvPr userDrawn="1">
            <p:custDataLst>
              <p:tags r:id="rId3"/>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Bold" panose="020F0702030404030204" pitchFamily="34" charset="0"/>
              <a:ea typeface="+mj-ea"/>
              <a:cs typeface="+mj-cs"/>
              <a:sym typeface="Calibri Bold" panose="020F0702030404030204" pitchFamily="34" charset="0"/>
            </a:endParaRPr>
          </a:p>
        </p:txBody>
      </p:sp>
      <p:pic>
        <p:nvPicPr>
          <p:cNvPr id="13" name="Picture 34" descr="https://www.nephros.com/wp-content/uploads/2016/09/Dialysis-Filter.jpg">
            <a:extLst>
              <a:ext uri="{FF2B5EF4-FFF2-40B4-BE49-F238E27FC236}">
                <a16:creationId xmlns:a16="http://schemas.microsoft.com/office/drawing/2014/main" id="{2C2A543F-FD0A-4B42-8FD1-3EED7C10998A}"/>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8072" r="6768"/>
          <a:stretch/>
        </p:blipFill>
        <p:spPr bwMode="auto">
          <a:xfrm>
            <a:off x="0" y="0"/>
            <a:ext cx="9144000" cy="6858000"/>
          </a:xfrm>
          <a:prstGeom prst="rect">
            <a:avLst/>
          </a:prstGeom>
          <a:extLst>
            <a:ext uri="{909E8E84-426E-40DD-AFC4-6F175D3DCCD1}">
              <a14:hiddenFill xmlns:a14="http://schemas.microsoft.com/office/drawing/2010/main">
                <a:solidFill>
                  <a:srgbClr val="FFFFFF"/>
                </a:solidFill>
              </a14:hiddenFill>
            </a:ext>
          </a:extLst>
        </p:spPr>
      </p:pic>
      <p:sp>
        <p:nvSpPr>
          <p:cNvPr id="14" name="Diamond 13">
            <a:extLst>
              <a:ext uri="{FF2B5EF4-FFF2-40B4-BE49-F238E27FC236}">
                <a16:creationId xmlns:a16="http://schemas.microsoft.com/office/drawing/2014/main" id="{98817860-50E2-446C-A53A-F0856DC7960B}"/>
              </a:ext>
            </a:extLst>
          </p:cNvPr>
          <p:cNvSpPr/>
          <p:nvPr userDrawn="1"/>
        </p:nvSpPr>
        <p:spPr>
          <a:xfrm>
            <a:off x="286783" y="174598"/>
            <a:ext cx="5060072" cy="6508804"/>
          </a:xfrm>
          <a:prstGeom prst="diamond">
            <a:avLst/>
          </a:prstGeom>
          <a:solidFill>
            <a:schemeClr val="accent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0" name="Graphic 19">
            <a:extLst>
              <a:ext uri="{FF2B5EF4-FFF2-40B4-BE49-F238E27FC236}">
                <a16:creationId xmlns:a16="http://schemas.microsoft.com/office/drawing/2014/main" id="{F6E1817A-9C9A-40A1-8685-C62BDCDC1D66}"/>
              </a:ext>
            </a:extLst>
          </p:cNvPr>
          <p:cNvPicPr>
            <a:picLocks noChangeAspect="1"/>
          </p:cNvPicPr>
          <p:nvPr userDrawn="1"/>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5219" r="79181" b="-606"/>
          <a:stretch/>
        </p:blipFill>
        <p:spPr>
          <a:xfrm>
            <a:off x="171453" y="5855836"/>
            <a:ext cx="1700213" cy="830719"/>
          </a:xfrm>
          <a:prstGeom prst="rect">
            <a:avLst/>
          </a:prstGeom>
        </p:spPr>
      </p:pic>
      <p:sp>
        <p:nvSpPr>
          <p:cNvPr id="23" name="Freeform: Shape 22">
            <a:extLst>
              <a:ext uri="{FF2B5EF4-FFF2-40B4-BE49-F238E27FC236}">
                <a16:creationId xmlns:a16="http://schemas.microsoft.com/office/drawing/2014/main" id="{4378E6B8-9627-4548-A0D6-BEF6EC227849}"/>
              </a:ext>
            </a:extLst>
          </p:cNvPr>
          <p:cNvSpPr/>
          <p:nvPr userDrawn="1"/>
        </p:nvSpPr>
        <p:spPr>
          <a:xfrm>
            <a:off x="1" y="0"/>
            <a:ext cx="2689378" cy="3254402"/>
          </a:xfrm>
          <a:custGeom>
            <a:avLst/>
            <a:gdLst>
              <a:gd name="connsiteX0" fmla="*/ 0 w 3585837"/>
              <a:gd name="connsiteY0" fmla="*/ 0 h 3254402"/>
              <a:gd name="connsiteX1" fmla="*/ 3585837 w 3585837"/>
              <a:gd name="connsiteY1" fmla="*/ 0 h 3254402"/>
              <a:gd name="connsiteX2" fmla="*/ 212456 w 3585837"/>
              <a:gd name="connsiteY2" fmla="*/ 3254402 h 3254402"/>
              <a:gd name="connsiteX3" fmla="*/ 0 w 3585837"/>
              <a:gd name="connsiteY3" fmla="*/ 3049440 h 3254402"/>
            </a:gdLst>
            <a:ahLst/>
            <a:cxnLst>
              <a:cxn ang="0">
                <a:pos x="connsiteX0" y="connsiteY0"/>
              </a:cxn>
              <a:cxn ang="0">
                <a:pos x="connsiteX1" y="connsiteY1"/>
              </a:cxn>
              <a:cxn ang="0">
                <a:pos x="connsiteX2" y="connsiteY2"/>
              </a:cxn>
              <a:cxn ang="0">
                <a:pos x="connsiteX3" y="connsiteY3"/>
              </a:cxn>
            </a:cxnLst>
            <a:rect l="l" t="t" r="r" b="b"/>
            <a:pathLst>
              <a:path w="3585837" h="3254402">
                <a:moveTo>
                  <a:pt x="0" y="0"/>
                </a:moveTo>
                <a:lnTo>
                  <a:pt x="3585837" y="0"/>
                </a:lnTo>
                <a:lnTo>
                  <a:pt x="212456" y="3254402"/>
                </a:lnTo>
                <a:lnTo>
                  <a:pt x="0" y="3049440"/>
                </a:lnTo>
                <a:close/>
              </a:path>
            </a:pathLst>
          </a:custGeom>
          <a:solidFill>
            <a:schemeClr val="accent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Freeform: Shape 23">
            <a:extLst>
              <a:ext uri="{FF2B5EF4-FFF2-40B4-BE49-F238E27FC236}">
                <a16:creationId xmlns:a16="http://schemas.microsoft.com/office/drawing/2014/main" id="{9FF4DC4D-D129-441C-8254-1015FB692F8D}"/>
              </a:ext>
            </a:extLst>
          </p:cNvPr>
          <p:cNvSpPr/>
          <p:nvPr userDrawn="1"/>
        </p:nvSpPr>
        <p:spPr>
          <a:xfrm>
            <a:off x="2941492" y="3603598"/>
            <a:ext cx="5060072" cy="3254402"/>
          </a:xfrm>
          <a:custGeom>
            <a:avLst/>
            <a:gdLst>
              <a:gd name="connsiteX0" fmla="*/ 3373381 w 6746762"/>
              <a:gd name="connsiteY0" fmla="*/ 0 h 3254402"/>
              <a:gd name="connsiteX1" fmla="*/ 6746762 w 6746762"/>
              <a:gd name="connsiteY1" fmla="*/ 3254402 h 3254402"/>
              <a:gd name="connsiteX2" fmla="*/ 0 w 6746762"/>
              <a:gd name="connsiteY2" fmla="*/ 3254402 h 3254402"/>
            </a:gdLst>
            <a:ahLst/>
            <a:cxnLst>
              <a:cxn ang="0">
                <a:pos x="connsiteX0" y="connsiteY0"/>
              </a:cxn>
              <a:cxn ang="0">
                <a:pos x="connsiteX1" y="connsiteY1"/>
              </a:cxn>
              <a:cxn ang="0">
                <a:pos x="connsiteX2" y="connsiteY2"/>
              </a:cxn>
            </a:cxnLst>
            <a:rect l="l" t="t" r="r" b="b"/>
            <a:pathLst>
              <a:path w="6746762" h="3254402">
                <a:moveTo>
                  <a:pt x="3373381" y="0"/>
                </a:moveTo>
                <a:lnTo>
                  <a:pt x="6746762" y="3254402"/>
                </a:lnTo>
                <a:lnTo>
                  <a:pt x="0" y="3254402"/>
                </a:lnTo>
                <a:close/>
              </a:path>
            </a:pathLst>
          </a:custGeom>
          <a:solidFill>
            <a:schemeClr val="tx2">
              <a:alpha val="1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617A3157-B60C-41BB-A64B-65E78A34C3F9}"/>
              </a:ext>
            </a:extLst>
          </p:cNvPr>
          <p:cNvSpPr>
            <a:spLocks noGrp="1"/>
          </p:cNvSpPr>
          <p:nvPr>
            <p:ph type="ctrTitle"/>
          </p:nvPr>
        </p:nvSpPr>
        <p:spPr>
          <a:xfrm>
            <a:off x="1340588" y="1402216"/>
            <a:ext cx="2952463" cy="1661993"/>
          </a:xfr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spAutoFit/>
          </a:bodyPr>
          <a:lstStyle>
            <a:lvl1pPr algn="ctr">
              <a:spcBef>
                <a:spcPts val="0"/>
              </a:spcBef>
              <a:spcAft>
                <a:spcPts val="0"/>
              </a:spcAft>
              <a:defRPr lang="en-US" sz="4000" baseline="0">
                <a:solidFill>
                  <a:schemeClr val="bg1"/>
                </a:solidFill>
              </a:defRPr>
            </a:lvl1pPr>
          </a:lstStyle>
          <a:p>
            <a:pPr marL="0" lvl="0">
              <a:spcBef>
                <a:spcPts val="0"/>
              </a:spcBef>
            </a:pPr>
            <a:r>
              <a:rPr lang="en-US"/>
              <a:t>Click to edit Master title style</a:t>
            </a:r>
            <a:endParaRPr lang="en-US" dirty="0"/>
          </a:p>
        </p:txBody>
      </p:sp>
      <p:sp>
        <p:nvSpPr>
          <p:cNvPr id="3" name="Subtitle 2">
            <a:extLst>
              <a:ext uri="{FF2B5EF4-FFF2-40B4-BE49-F238E27FC236}">
                <a16:creationId xmlns:a16="http://schemas.microsoft.com/office/drawing/2014/main" id="{B99F6E02-2B09-48FA-91B1-3E3BF4367F8B}"/>
              </a:ext>
            </a:extLst>
          </p:cNvPr>
          <p:cNvSpPr>
            <a:spLocks noGrp="1"/>
          </p:cNvSpPr>
          <p:nvPr>
            <p:ph type="subTitle" idx="1"/>
          </p:nvPr>
        </p:nvSpPr>
        <p:spPr>
          <a:xfrm>
            <a:off x="1340588" y="3538233"/>
            <a:ext cx="2952463" cy="2215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baseline="0">
                <a:solidFill>
                  <a:schemeClr val="bg1"/>
                </a:solidFill>
              </a:defRPr>
            </a:lvl1pPr>
          </a:lstStyle>
          <a:p>
            <a:pPr marL="0" lvl="0" indent="0">
              <a:spcBef>
                <a:spcPts val="0"/>
              </a:spcBef>
              <a:buNone/>
            </a:pPr>
            <a:r>
              <a:rPr lang="en-US"/>
              <a:t>Click to edit Master subtitle style</a:t>
            </a:r>
            <a:endParaRPr lang="en-US" dirty="0"/>
          </a:p>
        </p:txBody>
      </p:sp>
      <p:sp>
        <p:nvSpPr>
          <p:cNvPr id="21" name="Text Placeholder 20">
            <a:extLst>
              <a:ext uri="{FF2B5EF4-FFF2-40B4-BE49-F238E27FC236}">
                <a16:creationId xmlns:a16="http://schemas.microsoft.com/office/drawing/2014/main" id="{DFBEE9E3-C9C8-43AB-938D-CE69630B4F99}"/>
              </a:ext>
            </a:extLst>
          </p:cNvPr>
          <p:cNvSpPr>
            <a:spLocks noGrp="1"/>
          </p:cNvSpPr>
          <p:nvPr>
            <p:ph type="body" sz="quarter" idx="13" hasCustomPrompt="1"/>
          </p:nvPr>
        </p:nvSpPr>
        <p:spPr>
          <a:xfrm>
            <a:off x="1340588" y="4344658"/>
            <a:ext cx="2952463" cy="332399"/>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dirty="0"/>
              <a:t>Click to edit Date</a:t>
            </a:r>
          </a:p>
        </p:txBody>
      </p:sp>
      <p:sp>
        <p:nvSpPr>
          <p:cNvPr id="22" name="Text Placeholder 20">
            <a:extLst>
              <a:ext uri="{FF2B5EF4-FFF2-40B4-BE49-F238E27FC236}">
                <a16:creationId xmlns:a16="http://schemas.microsoft.com/office/drawing/2014/main" id="{14F8465E-3A8A-422E-B192-4D384A55B3B0}"/>
              </a:ext>
            </a:extLst>
          </p:cNvPr>
          <p:cNvSpPr>
            <a:spLocks noGrp="1"/>
          </p:cNvSpPr>
          <p:nvPr>
            <p:ph type="body" sz="quarter" idx="14"/>
          </p:nvPr>
        </p:nvSpPr>
        <p:spPr>
          <a:xfrm>
            <a:off x="1808533" y="4856109"/>
            <a:ext cx="2016572" cy="997196"/>
          </a:xfr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lgn="ctr">
              <a:spcBef>
                <a:spcPts val="0"/>
              </a:spcBef>
              <a:spcAft>
                <a:spcPts val="0"/>
              </a:spcAft>
              <a:defRPr lang="en-US" sz="2400" baseline="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0" lvl="0" indent="0">
              <a:spcBef>
                <a:spcPts val="0"/>
              </a:spcBef>
              <a:buNone/>
            </a:pPr>
            <a:r>
              <a:rPr lang="en-US"/>
              <a:t>Click to edit Master text styles</a:t>
            </a:r>
          </a:p>
        </p:txBody>
      </p:sp>
    </p:spTree>
    <p:extLst>
      <p:ext uri="{BB962C8B-B14F-4D97-AF65-F5344CB8AC3E}">
        <p14:creationId xmlns:p14="http://schemas.microsoft.com/office/powerpoint/2010/main" val="228491563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E76A54-2775-42F1-8B02-BBD462DCBE97}"/>
              </a:ext>
            </a:extLst>
          </p:cNvPr>
          <p:cNvGraphicFramePr>
            <a:graphicFrameLocks noChangeAspect="1"/>
          </p:cNvGraphicFramePr>
          <p:nvPr userDrawn="1">
            <p:custDataLst>
              <p:tags r:id="rId43"/>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094" name="think-cell Slide" r:id="rId45" imgW="306" imgH="306" progId="TCLayout.ActiveDocument.1">
                  <p:embed/>
                </p:oleObj>
              </mc:Choice>
              <mc:Fallback>
                <p:oleObj name="think-cell Slide" r:id="rId45" imgW="306" imgH="306" progId="TCLayout.ActiveDocument.1">
                  <p:embed/>
                  <p:pic>
                    <p:nvPicPr>
                      <p:cNvPr id="8" name="Object 7" hidden="1">
                        <a:extLst>
                          <a:ext uri="{FF2B5EF4-FFF2-40B4-BE49-F238E27FC236}">
                            <a16:creationId xmlns:a16="http://schemas.microsoft.com/office/drawing/2014/main" id="{DDE76A54-2775-42F1-8B02-BBD462DCBE97}"/>
                          </a:ext>
                        </a:extLst>
                      </p:cNvPr>
                      <p:cNvPicPr/>
                      <p:nvPr/>
                    </p:nvPicPr>
                    <p:blipFill>
                      <a:blip r:embed="rId46"/>
                      <a:stretch>
                        <a:fillRect/>
                      </a:stretch>
                    </p:blipFill>
                    <p:spPr>
                      <a:xfrm>
                        <a:off x="1193" y="1588"/>
                        <a:ext cx="1191"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04430A4-A354-4017-B0A3-62B5BA7DDC13}"/>
              </a:ext>
            </a:extLst>
          </p:cNvPr>
          <p:cNvSpPr/>
          <p:nvPr userDrawn="1">
            <p:custDataLst>
              <p:tags r:id="rId44"/>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Bold" panose="020F0702030404030204" pitchFamily="34" charset="0"/>
              <a:ea typeface="+mj-ea"/>
              <a:cs typeface="+mj-cs"/>
              <a:sym typeface="Calibri Bold" panose="020F0702030404030204" pitchFamily="34" charset="0"/>
            </a:endParaRPr>
          </a:p>
        </p:txBody>
      </p:sp>
      <p:sp>
        <p:nvSpPr>
          <p:cNvPr id="2" name="Title Placeholder 1">
            <a:extLst>
              <a:ext uri="{FF2B5EF4-FFF2-40B4-BE49-F238E27FC236}">
                <a16:creationId xmlns:a16="http://schemas.microsoft.com/office/drawing/2014/main" id="{2AB05884-23BF-4263-A126-D04D7F664168}"/>
              </a:ext>
            </a:extLst>
          </p:cNvPr>
          <p:cNvSpPr>
            <a:spLocks noGrp="1"/>
          </p:cNvSpPr>
          <p:nvPr>
            <p:ph type="title"/>
          </p:nvPr>
        </p:nvSpPr>
        <p:spPr>
          <a:xfrm>
            <a:off x="156611" y="356168"/>
            <a:ext cx="7801527" cy="41549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p>
            <a:pPr marL="0" lvl="0">
              <a:spcBef>
                <a:spcPts val="0"/>
              </a:spcBef>
            </a:pPr>
            <a:r>
              <a:rPr lang="en-US"/>
              <a:t>Click to edit Master title style</a:t>
            </a:r>
          </a:p>
        </p:txBody>
      </p:sp>
      <p:sp>
        <p:nvSpPr>
          <p:cNvPr id="3" name="Text Placeholder 2">
            <a:extLst>
              <a:ext uri="{FF2B5EF4-FFF2-40B4-BE49-F238E27FC236}">
                <a16:creationId xmlns:a16="http://schemas.microsoft.com/office/drawing/2014/main" id="{EDD6AF13-01A8-48B9-BD39-FD97E0A1C902}"/>
              </a:ext>
            </a:extLst>
          </p:cNvPr>
          <p:cNvSpPr>
            <a:spLocks noGrp="1"/>
          </p:cNvSpPr>
          <p:nvPr>
            <p:ph type="body" idx="1"/>
          </p:nvPr>
        </p:nvSpPr>
        <p:spPr>
          <a:xfrm>
            <a:off x="857250" y="1524002"/>
            <a:ext cx="7886700" cy="147527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EB7B838-AE0E-4501-9F8E-70C8EF07E7B5}"/>
              </a:ext>
            </a:extLst>
          </p:cNvPr>
          <p:cNvSpPr>
            <a:spLocks noGrp="1"/>
          </p:cNvSpPr>
          <p:nvPr>
            <p:ph type="dt" sz="half" idx="2"/>
          </p:nvPr>
        </p:nvSpPr>
        <p:spPr>
          <a:xfrm>
            <a:off x="8539640" y="6675800"/>
            <a:ext cx="447750"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spAutoFit/>
          </a:bodyPr>
          <a:lstStyle>
            <a:lvl1pPr>
              <a:defRPr lang="en-US" sz="800" baseline="0" smtClean="0"/>
            </a:lvl1pPr>
          </a:lstStyle>
          <a:p>
            <a:pPr algn="r"/>
            <a:fld id="{A3E4924D-3D41-4E25-AF62-08F0CB51AF35}" type="datetime1">
              <a:rPr lang="en-US" smtClean="0"/>
              <a:t>5/20/20</a:t>
            </a:fld>
            <a:endParaRPr lang="en-US" dirty="0"/>
          </a:p>
        </p:txBody>
      </p:sp>
      <p:sp>
        <p:nvSpPr>
          <p:cNvPr id="5" name="Footer Placeholder 4">
            <a:extLst>
              <a:ext uri="{FF2B5EF4-FFF2-40B4-BE49-F238E27FC236}">
                <a16:creationId xmlns:a16="http://schemas.microsoft.com/office/drawing/2014/main" id="{EFA84B8D-A75C-47A2-BE93-73B98216995F}"/>
              </a:ext>
            </a:extLst>
          </p:cNvPr>
          <p:cNvSpPr>
            <a:spLocks noGrp="1"/>
          </p:cNvSpPr>
          <p:nvPr>
            <p:ph type="ftr" sz="quarter" idx="3"/>
          </p:nvPr>
        </p:nvSpPr>
        <p:spPr>
          <a:xfrm>
            <a:off x="533399" y="6675800"/>
            <a:ext cx="7892655" cy="12311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defRPr lang="en-US" sz="800" baseline="0"/>
            </a:lvl1pPr>
          </a:lstStyle>
          <a:p>
            <a:endParaRPr lang="en-US" dirty="0"/>
          </a:p>
        </p:txBody>
      </p:sp>
      <p:sp>
        <p:nvSpPr>
          <p:cNvPr id="6" name="Slide Number Placeholder 5">
            <a:extLst>
              <a:ext uri="{FF2B5EF4-FFF2-40B4-BE49-F238E27FC236}">
                <a16:creationId xmlns:a16="http://schemas.microsoft.com/office/drawing/2014/main" id="{12F4C13F-8D27-4D87-BB25-97AC605F22E8}"/>
              </a:ext>
            </a:extLst>
          </p:cNvPr>
          <p:cNvSpPr>
            <a:spLocks noGrp="1"/>
          </p:cNvSpPr>
          <p:nvPr>
            <p:ph type="sldNum" sz="quarter" idx="4"/>
          </p:nvPr>
        </p:nvSpPr>
        <p:spPr>
          <a:xfrm>
            <a:off x="185759" y="6645017"/>
            <a:ext cx="267085" cy="18466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1">
            <a:noAutofit/>
          </a:bodyPr>
          <a:lstStyle>
            <a:lvl1pPr>
              <a:defRPr lang="en-US" sz="800" baseline="0" smtClean="0">
                <a:solidFill>
                  <a:schemeClr val="bg1"/>
                </a:solidFill>
              </a:defRPr>
            </a:lvl1pPr>
          </a:lstStyle>
          <a:p>
            <a:pPr algn="ctr"/>
            <a:fld id="{1703025F-5038-48A2-8F2E-D28A39FB9727}" type="slidenum">
              <a:rPr lang="en-US" smtClean="0"/>
              <a:pPr algn="ctr"/>
              <a:t>‹#›</a:t>
            </a:fld>
            <a:endParaRPr lang="en-US" dirty="0"/>
          </a:p>
        </p:txBody>
      </p:sp>
    </p:spTree>
    <p:extLst>
      <p:ext uri="{BB962C8B-B14F-4D97-AF65-F5344CB8AC3E}">
        <p14:creationId xmlns:p14="http://schemas.microsoft.com/office/powerpoint/2010/main" val="39912555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02" r:id="rId20"/>
    <p:sldLayoutId id="2147483721" r:id="rId21"/>
    <p:sldLayoutId id="2147483722" r:id="rId22"/>
    <p:sldLayoutId id="2147483681" r:id="rId23"/>
    <p:sldLayoutId id="2147483682" r:id="rId24"/>
    <p:sldLayoutId id="2147483683" r:id="rId25"/>
    <p:sldLayoutId id="2147483684" r:id="rId26"/>
    <p:sldLayoutId id="2147483685" r:id="rId27"/>
    <p:sldLayoutId id="2147483686" r:id="rId28"/>
    <p:sldLayoutId id="2147483687" r:id="rId29"/>
    <p:sldLayoutId id="2147483688" r:id="rId30"/>
    <p:sldLayoutId id="2147483689" r:id="rId31"/>
    <p:sldLayoutId id="2147483690" r:id="rId32"/>
    <p:sldLayoutId id="2147483691" r:id="rId33"/>
    <p:sldLayoutId id="2147483693" r:id="rId34"/>
    <p:sldLayoutId id="2147483694" r:id="rId35"/>
    <p:sldLayoutId id="2147483695" r:id="rId36"/>
    <p:sldLayoutId id="2147483696" r:id="rId37"/>
    <p:sldLayoutId id="2147483697" r:id="rId38"/>
    <p:sldLayoutId id="2147483698" r:id="rId39"/>
    <p:sldLayoutId id="2147483724" r:id="rId40"/>
  </p:sldLayoutIdLst>
  <p:hf hdr="0" ftr="0" dt="0"/>
  <p:txStyles>
    <p:titleStyle>
      <a:lvl1pPr algn="l" defTabSz="914377" rtl="0" eaLnBrk="1" latinLnBrk="0" hangingPunct="1">
        <a:lnSpc>
          <a:spcPct val="90000"/>
        </a:lnSpc>
        <a:spcBef>
          <a:spcPct val="0"/>
        </a:spcBef>
        <a:buNone/>
        <a:defRPr lang="en-US" sz="3000" kern="1200">
          <a:solidFill>
            <a:schemeClr val="accent2"/>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lang="en-US" sz="1600" kern="1200" dirty="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lang="en-US" sz="1800" kern="1200" baseline="0" dirty="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lang="en-US" sz="1800" kern="1200" baseline="0" dirty="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lang="en-US" sz="1800" kern="1200" baseline="0" dirty="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lang="en-US" sz="1800" kern="1200" baseline="0" dirty="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9.jpg"/><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21.bin"/><Relationship Id="rId5" Type="http://schemas.openxmlformats.org/officeDocument/2006/relationships/image" Target="../media/image30.png"/><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image" Target="../media/image32.png"/><Relationship Id="rId7" Type="http://schemas.openxmlformats.org/officeDocument/2006/relationships/image" Target="../media/image36.jpg"/><Relationship Id="rId2" Type="http://schemas.openxmlformats.org/officeDocument/2006/relationships/image" Target="../media/image31.jpg"/><Relationship Id="rId1" Type="http://schemas.openxmlformats.org/officeDocument/2006/relationships/slideLayout" Target="../slideLayouts/slideLayout12.xml"/><Relationship Id="rId6" Type="http://schemas.openxmlformats.org/officeDocument/2006/relationships/image" Target="../media/image35.jp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jpg"/></Relationships>
</file>

<file path=ppt/slides/_rels/slide1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9.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12.xml"/><Relationship Id="rId7" Type="http://schemas.openxmlformats.org/officeDocument/2006/relationships/image" Target="../media/image40.jpe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8" Type="http://schemas.openxmlformats.org/officeDocument/2006/relationships/image" Target="../media/image44.tiff"/><Relationship Id="rId3" Type="http://schemas.openxmlformats.org/officeDocument/2006/relationships/diagramLayout" Target="../diagrams/layout3.xml"/><Relationship Id="rId7" Type="http://schemas.openxmlformats.org/officeDocument/2006/relationships/image" Target="../media/image43.tiff"/><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8" Type="http://schemas.openxmlformats.org/officeDocument/2006/relationships/image" Target="../media/image46.tiff"/><Relationship Id="rId3" Type="http://schemas.openxmlformats.org/officeDocument/2006/relationships/diagramLayout" Target="../diagrams/layout4.xml"/><Relationship Id="rId7" Type="http://schemas.openxmlformats.org/officeDocument/2006/relationships/image" Target="../media/image45.tiff"/><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 Id="rId9" Type="http://schemas.openxmlformats.org/officeDocument/2006/relationships/image" Target="../media/image43.tif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9.jpe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2.xml"/><Relationship Id="rId7" Type="http://schemas.openxmlformats.org/officeDocument/2006/relationships/image" Target="../media/image21.jpeg"/><Relationship Id="rId12" Type="http://schemas.openxmlformats.org/officeDocument/2006/relationships/image" Target="../media/image25.PNG"/><Relationship Id="rId2" Type="http://schemas.openxmlformats.org/officeDocument/2006/relationships/tags" Target="../tags/tag81.xml"/><Relationship Id="rId1" Type="http://schemas.openxmlformats.org/officeDocument/2006/relationships/vmlDrawing" Target="../drawings/vmlDrawing42.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23.bin"/><Relationship Id="rId10" Type="http://schemas.openxmlformats.org/officeDocument/2006/relationships/image" Target="../media/image24.png"/><Relationship Id="rId4" Type="http://schemas.openxmlformats.org/officeDocument/2006/relationships/notesSlide" Target="../notesSlides/notesSlide3.xml"/><Relationship Id="rId9" Type="http://schemas.openxmlformats.org/officeDocument/2006/relationships/image" Target="../media/image23.jpe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bg1">
                <a:tint val="90000"/>
                <a:lumMod val="110000"/>
              </a:schemeClr>
            </a:gs>
            <a:gs pos="100000">
              <a:schemeClr val="bg1">
                <a:shade val="64000"/>
                <a:lumMod val="88000"/>
              </a:schemeClr>
            </a:gs>
          </a:gsLst>
          <a:lin ang="5400000" scaled="0"/>
        </a:gradFill>
        <a:effectLst/>
      </p:bgPr>
    </p:bg>
    <p:spTree>
      <p:nvGrpSpPr>
        <p:cNvPr id="1" name=""/>
        <p:cNvGrpSpPr/>
        <p:nvPr/>
      </p:nvGrpSpPr>
      <p:grpSpPr>
        <a:xfrm>
          <a:off x="0" y="0"/>
          <a:ext cx="0" cy="0"/>
          <a:chOff x="0" y="0"/>
          <a:chExt cx="0" cy="0"/>
        </a:xfrm>
      </p:grpSpPr>
      <p:pic>
        <p:nvPicPr>
          <p:cNvPr id="4" name="Picture 3" descr="A picture containing object&#10;&#10;Description automatically generated">
            <a:extLst>
              <a:ext uri="{FF2B5EF4-FFF2-40B4-BE49-F238E27FC236}">
                <a16:creationId xmlns:a16="http://schemas.microsoft.com/office/drawing/2014/main" id="{BD659380-55F4-4E60-A528-52019517B1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3574" y="1681848"/>
            <a:ext cx="7439752" cy="2175777"/>
          </a:xfrm>
          <a:prstGeom prst="rect">
            <a:avLst/>
          </a:prstGeom>
        </p:spPr>
      </p:pic>
      <p:sp>
        <p:nvSpPr>
          <p:cNvPr id="6" name="Title 9">
            <a:extLst>
              <a:ext uri="{FF2B5EF4-FFF2-40B4-BE49-F238E27FC236}">
                <a16:creationId xmlns:a16="http://schemas.microsoft.com/office/drawing/2014/main" id="{2232E60E-8249-42F6-904D-1A0B8AF78CED}"/>
              </a:ext>
            </a:extLst>
          </p:cNvPr>
          <p:cNvSpPr>
            <a:spLocks noGrp="1"/>
          </p:cNvSpPr>
          <p:nvPr>
            <p:ph type="ctrTitle"/>
          </p:nvPr>
        </p:nvSpPr>
        <p:spPr>
          <a:xfrm>
            <a:off x="1076941" y="4404855"/>
            <a:ext cx="6666884" cy="443198"/>
          </a:xfrm>
        </p:spPr>
        <p:txBody>
          <a:bodyPr>
            <a:normAutofit fontScale="90000"/>
          </a:bodyPr>
          <a:lstStyle/>
          <a:p>
            <a:pPr algn="l"/>
            <a:r>
              <a:rPr lang="en-US" sz="3200" b="1" dirty="0">
                <a:solidFill>
                  <a:srgbClr val="0072CE"/>
                </a:solidFill>
              </a:rPr>
              <a:t>Nephros, Inc. (Nasdaq: NEPH)</a:t>
            </a:r>
            <a:br>
              <a:rPr lang="en-US" sz="3200" b="1" dirty="0">
                <a:solidFill>
                  <a:srgbClr val="0072CE"/>
                </a:solidFill>
              </a:rPr>
            </a:br>
            <a:r>
              <a:rPr lang="en-US" sz="3200" b="1" dirty="0">
                <a:solidFill>
                  <a:srgbClr val="0072CE"/>
                </a:solidFill>
              </a:rPr>
              <a:t>Annual Meeting</a:t>
            </a:r>
            <a:br>
              <a:rPr lang="en-US" sz="3200" b="1" dirty="0">
                <a:solidFill>
                  <a:srgbClr val="0072CE"/>
                </a:solidFill>
              </a:rPr>
            </a:br>
            <a:r>
              <a:rPr lang="en-US" sz="2200" b="1" i="1" dirty="0">
                <a:solidFill>
                  <a:srgbClr val="0072CE"/>
                </a:solidFill>
              </a:rPr>
              <a:t>May 21, 2020</a:t>
            </a:r>
            <a:endParaRPr lang="en-US" sz="3200" b="1" i="1" dirty="0">
              <a:solidFill>
                <a:srgbClr val="0072CE"/>
              </a:solidFill>
            </a:endParaRPr>
          </a:p>
        </p:txBody>
      </p:sp>
      <p:pic>
        <p:nvPicPr>
          <p:cNvPr id="5" name="Picture 4" descr="Droplets-SD-Title-R1d.png">
            <a:extLst>
              <a:ext uri="{FF2B5EF4-FFF2-40B4-BE49-F238E27FC236}">
                <a16:creationId xmlns:a16="http://schemas.microsoft.com/office/drawing/2014/main" id="{84CF4D46-B979-FA4A-B7B8-FBE4745ADD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8296"/>
            <a:ext cx="9144000" cy="6858000"/>
          </a:xfrm>
          <a:prstGeom prst="rect">
            <a:avLst/>
          </a:prstGeom>
        </p:spPr>
      </p:pic>
    </p:spTree>
    <p:extLst>
      <p:ext uri="{BB962C8B-B14F-4D97-AF65-F5344CB8AC3E}">
        <p14:creationId xmlns:p14="http://schemas.microsoft.com/office/powerpoint/2010/main" val="994321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951E58-D6E7-41DA-A544-124D43AF75F7}"/>
              </a:ext>
            </a:extLst>
          </p:cNvPr>
          <p:cNvPicPr>
            <a:picLocks noChangeAspect="1"/>
          </p:cNvPicPr>
          <p:nvPr/>
        </p:nvPicPr>
        <p:blipFill>
          <a:blip r:embed="rId2"/>
          <a:stretch>
            <a:fillRect/>
          </a:stretch>
        </p:blipFill>
        <p:spPr>
          <a:xfrm>
            <a:off x="7488858" y="5328671"/>
            <a:ext cx="1307376" cy="1375263"/>
          </a:xfrm>
          <a:prstGeom prst="rect">
            <a:avLst/>
          </a:prstGeom>
        </p:spPr>
      </p:pic>
      <p:sp>
        <p:nvSpPr>
          <p:cNvPr id="5" name="Right Triangle 4">
            <a:extLst>
              <a:ext uri="{FF2B5EF4-FFF2-40B4-BE49-F238E27FC236}">
                <a16:creationId xmlns:a16="http://schemas.microsoft.com/office/drawing/2014/main" id="{71ADF420-B0F6-4295-9270-369BB75D9245}"/>
              </a:ext>
            </a:extLst>
          </p:cNvPr>
          <p:cNvSpPr/>
          <p:nvPr/>
        </p:nvSpPr>
        <p:spPr>
          <a:xfrm rot="5400000">
            <a:off x="39949" y="-39949"/>
            <a:ext cx="4181385" cy="4261285"/>
          </a:xfrm>
          <a:prstGeom prst="rtTriangle">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Triangle 5">
            <a:extLst>
              <a:ext uri="{FF2B5EF4-FFF2-40B4-BE49-F238E27FC236}">
                <a16:creationId xmlns:a16="http://schemas.microsoft.com/office/drawing/2014/main" id="{EB9FAA34-6B0E-4B9B-A71A-D263E327FCF8}"/>
              </a:ext>
            </a:extLst>
          </p:cNvPr>
          <p:cNvSpPr/>
          <p:nvPr/>
        </p:nvSpPr>
        <p:spPr>
          <a:xfrm>
            <a:off x="0" y="5482736"/>
            <a:ext cx="985421" cy="1375264"/>
          </a:xfrm>
          <a:prstGeom prst="r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object&#10;&#10;Description automatically generated">
            <a:extLst>
              <a:ext uri="{FF2B5EF4-FFF2-40B4-BE49-F238E27FC236}">
                <a16:creationId xmlns:a16="http://schemas.microsoft.com/office/drawing/2014/main" id="{4DADCD2D-9BFF-4A23-BF9C-89A91FF2B4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5265" y="353379"/>
            <a:ext cx="1269507" cy="371271"/>
          </a:xfrm>
          <a:prstGeom prst="rect">
            <a:avLst/>
          </a:prstGeom>
        </p:spPr>
      </p:pic>
      <p:sp>
        <p:nvSpPr>
          <p:cNvPr id="21" name="TextBox 20">
            <a:extLst>
              <a:ext uri="{FF2B5EF4-FFF2-40B4-BE49-F238E27FC236}">
                <a16:creationId xmlns:a16="http://schemas.microsoft.com/office/drawing/2014/main" id="{17835F59-BAAC-4737-8AFA-7419F1EACB20}"/>
              </a:ext>
            </a:extLst>
          </p:cNvPr>
          <p:cNvSpPr txBox="1"/>
          <p:nvPr/>
        </p:nvSpPr>
        <p:spPr>
          <a:xfrm>
            <a:off x="2059619" y="3090446"/>
            <a:ext cx="5024761" cy="67710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r"/>
            <a:r>
              <a:rPr lang="en-US" sz="4400" dirty="0">
                <a:solidFill>
                  <a:srgbClr val="280071"/>
                </a:solidFill>
                <a:latin typeface="Arial Black" panose="020B0A04020102020204" pitchFamily="34" charset="0"/>
              </a:rPr>
              <a:t>Water Filtration</a:t>
            </a:r>
          </a:p>
        </p:txBody>
      </p:sp>
    </p:spTree>
    <p:extLst>
      <p:ext uri="{BB962C8B-B14F-4D97-AF65-F5344CB8AC3E}">
        <p14:creationId xmlns:p14="http://schemas.microsoft.com/office/powerpoint/2010/main" val="3521452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45126"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284084"/>
            <a:ext cx="6002595" cy="565707"/>
          </a:xfrm>
        </p:spPr>
        <p:txBody>
          <a:bodyPr/>
          <a:lstStyle/>
          <a:p>
            <a:r>
              <a:rPr lang="en-US" dirty="0"/>
              <a:t>What Does a Nephros Ultrafilter Do?</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703025F-5038-48A2-8F2E-D28A39FB9727}" type="slidenum">
              <a:rPr kumimoji="0" lang="en-US" sz="800" b="0" i="0" u="none" strike="noStrike" kern="1200" cap="none" spc="0" normalizeH="0" baseline="0" noProof="0">
                <a:ln>
                  <a:noFill/>
                </a:ln>
                <a:solidFill>
                  <a:prstClr val="white"/>
                </a:solidFill>
                <a:effectLst/>
                <a:uLnTx/>
                <a:uFillTx/>
                <a:latin typeface="Calibri Regular"/>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prstClr val="white"/>
              </a:solidFill>
              <a:effectLst/>
              <a:uLnTx/>
              <a:uFillTx/>
              <a:latin typeface="Calibri Regular"/>
              <a:ea typeface="+mn-ea"/>
              <a:cs typeface="+mn-cs"/>
            </a:endParaRPr>
          </a:p>
        </p:txBody>
      </p:sp>
      <p:sp>
        <p:nvSpPr>
          <p:cNvPr id="11" name="TextBox 10">
            <a:extLst>
              <a:ext uri="{FF2B5EF4-FFF2-40B4-BE49-F238E27FC236}">
                <a16:creationId xmlns:a16="http://schemas.microsoft.com/office/drawing/2014/main" id="{453332A8-5651-4FF4-924D-F7866DF2EE63}"/>
              </a:ext>
            </a:extLst>
          </p:cNvPr>
          <p:cNvSpPr txBox="1"/>
          <p:nvPr/>
        </p:nvSpPr>
        <p:spPr>
          <a:xfrm>
            <a:off x="239523" y="1168083"/>
            <a:ext cx="8693462"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457200" indent="-457200">
              <a:buFont typeface="Wingdings" panose="05000000000000000000" pitchFamily="2" charset="2"/>
              <a:buChar char="§"/>
              <a:defRPr/>
            </a:pPr>
            <a:r>
              <a:rPr lang="en-US" sz="1600" b="1" dirty="0">
                <a:solidFill>
                  <a:srgbClr val="002060"/>
                </a:solidFill>
                <a:latin typeface="Arial" panose="020B0604020202020204" pitchFamily="34" charset="0"/>
                <a:cs typeface="Arial" panose="020B0604020202020204" pitchFamily="34" charset="0"/>
              </a:rPr>
              <a:t>Nephros Ultrafilters protect patients and consumers from water-borne pathogens</a:t>
            </a:r>
          </a:p>
        </p:txBody>
      </p:sp>
      <p:pic>
        <p:nvPicPr>
          <p:cNvPr id="13" name="Picture 12" descr="A group of glass bottles on a table&#10;&#10;Description automatically generated">
            <a:extLst>
              <a:ext uri="{FF2B5EF4-FFF2-40B4-BE49-F238E27FC236}">
                <a16:creationId xmlns:a16="http://schemas.microsoft.com/office/drawing/2014/main" id="{5C31AD32-AC9A-408F-96D7-B49F8C66CF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3488" y="2523797"/>
            <a:ext cx="7557025" cy="3831648"/>
          </a:xfrm>
          <a:prstGeom prst="rect">
            <a:avLst/>
          </a:prstGeom>
        </p:spPr>
      </p:pic>
      <p:sp>
        <p:nvSpPr>
          <p:cNvPr id="14" name="TextBox 13">
            <a:extLst>
              <a:ext uri="{FF2B5EF4-FFF2-40B4-BE49-F238E27FC236}">
                <a16:creationId xmlns:a16="http://schemas.microsoft.com/office/drawing/2014/main" id="{382D376F-6171-4DE8-B328-D98604C05DB8}"/>
              </a:ext>
            </a:extLst>
          </p:cNvPr>
          <p:cNvSpPr txBox="1"/>
          <p:nvPr/>
        </p:nvSpPr>
        <p:spPr>
          <a:xfrm>
            <a:off x="1497112" y="4329299"/>
            <a:ext cx="2144624"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600" b="1" dirty="0">
                <a:solidFill>
                  <a:schemeClr val="bg1"/>
                </a:solidFill>
                <a:latin typeface="Calibri Regular"/>
              </a:rPr>
              <a:t>Debris Retained</a:t>
            </a:r>
          </a:p>
        </p:txBody>
      </p:sp>
      <p:sp>
        <p:nvSpPr>
          <p:cNvPr id="15" name="TextBox 14">
            <a:extLst>
              <a:ext uri="{FF2B5EF4-FFF2-40B4-BE49-F238E27FC236}">
                <a16:creationId xmlns:a16="http://schemas.microsoft.com/office/drawing/2014/main" id="{259E5A1C-E91C-40D0-B9C5-B128CCE77520}"/>
              </a:ext>
            </a:extLst>
          </p:cNvPr>
          <p:cNvSpPr txBox="1"/>
          <p:nvPr/>
        </p:nvSpPr>
        <p:spPr>
          <a:xfrm>
            <a:off x="5725863" y="4206188"/>
            <a:ext cx="1931170" cy="49244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600" b="1" dirty="0">
                <a:solidFill>
                  <a:schemeClr val="bg1"/>
                </a:solidFill>
                <a:latin typeface="Calibri Regular"/>
              </a:rPr>
              <a:t>Product Water Delivered</a:t>
            </a:r>
          </a:p>
        </p:txBody>
      </p:sp>
      <p:sp>
        <p:nvSpPr>
          <p:cNvPr id="16" name="TextBox 15">
            <a:extLst>
              <a:ext uri="{FF2B5EF4-FFF2-40B4-BE49-F238E27FC236}">
                <a16:creationId xmlns:a16="http://schemas.microsoft.com/office/drawing/2014/main" id="{84C04953-E044-4810-A9CE-8F6184EC0333}"/>
              </a:ext>
            </a:extLst>
          </p:cNvPr>
          <p:cNvSpPr txBox="1"/>
          <p:nvPr/>
        </p:nvSpPr>
        <p:spPr>
          <a:xfrm>
            <a:off x="3468342" y="5515835"/>
            <a:ext cx="2240243" cy="5539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200" b="1" dirty="0">
                <a:solidFill>
                  <a:schemeClr val="bg1"/>
                </a:solidFill>
                <a:latin typeface="Calibri Regular"/>
              </a:rPr>
              <a:t>The DSU-H is FDA Cleared (bacteria &amp; virus) to aid in infection control for up to 180-days</a:t>
            </a:r>
          </a:p>
        </p:txBody>
      </p:sp>
      <p:sp>
        <p:nvSpPr>
          <p:cNvPr id="17" name="Rectangle 16">
            <a:extLst>
              <a:ext uri="{FF2B5EF4-FFF2-40B4-BE49-F238E27FC236}">
                <a16:creationId xmlns:a16="http://schemas.microsoft.com/office/drawing/2014/main" id="{6E4410B1-72B1-4044-96C3-2E7E387AC6C8}"/>
              </a:ext>
            </a:extLst>
          </p:cNvPr>
          <p:cNvSpPr/>
          <p:nvPr/>
        </p:nvSpPr>
        <p:spPr>
          <a:xfrm>
            <a:off x="793487" y="1768975"/>
            <a:ext cx="7557026" cy="656278"/>
          </a:xfrm>
          <a:prstGeom prst="rect">
            <a:avLst/>
          </a:prstGeom>
          <a:solidFill>
            <a:srgbClr val="0072CE"/>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Actual Backwash of a Nephros Ultrafilter After 6 Months</a:t>
            </a:r>
          </a:p>
        </p:txBody>
      </p:sp>
    </p:spTree>
    <p:extLst>
      <p:ext uri="{BB962C8B-B14F-4D97-AF65-F5344CB8AC3E}">
        <p14:creationId xmlns:p14="http://schemas.microsoft.com/office/powerpoint/2010/main" val="477606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E80521C7-DF20-44B6-A926-49E24D20C833}"/>
              </a:ext>
            </a:extLst>
          </p:cNvPr>
          <p:cNvPicPr>
            <a:picLocks noChangeAspect="1"/>
          </p:cNvPicPr>
          <p:nvPr/>
        </p:nvPicPr>
        <p:blipFill>
          <a:blip r:embed="rId5"/>
          <a:stretch>
            <a:fillRect/>
          </a:stretch>
        </p:blipFill>
        <p:spPr>
          <a:xfrm rot="2383031">
            <a:off x="5418810" y="4201803"/>
            <a:ext cx="3098164" cy="1095601"/>
          </a:xfrm>
          <a:prstGeom prst="rect">
            <a:avLst/>
          </a:prstGeom>
        </p:spPr>
      </p:pic>
      <p:sp>
        <p:nvSpPr>
          <p:cNvPr id="23" name="Oval 22">
            <a:extLst>
              <a:ext uri="{FF2B5EF4-FFF2-40B4-BE49-F238E27FC236}">
                <a16:creationId xmlns:a16="http://schemas.microsoft.com/office/drawing/2014/main" id="{2717CB51-48E5-4A8E-97A7-AA7D5BC131CA}"/>
              </a:ext>
            </a:extLst>
          </p:cNvPr>
          <p:cNvSpPr/>
          <p:nvPr/>
        </p:nvSpPr>
        <p:spPr>
          <a:xfrm>
            <a:off x="6395295" y="2889979"/>
            <a:ext cx="1920570" cy="1043846"/>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a:solidFill>
                  <a:schemeClr val="tx1"/>
                </a:solidFill>
                <a:latin typeface="Arial" panose="020B0604020202020204" pitchFamily="34" charset="0"/>
                <a:cs typeface="Arial" panose="020B0604020202020204" pitchFamily="34" charset="0"/>
              </a:rPr>
              <a:t>Nephros Ultrafilters stop all bacteria, viruses, endotoxins</a:t>
            </a:r>
          </a:p>
        </p:txBody>
      </p:sp>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46150" name="think-cell Slide" r:id="rId6" imgW="306" imgH="306" progId="TCLayout.ActiveDocument.1">
                  <p:embed/>
                </p:oleObj>
              </mc:Choice>
              <mc:Fallback>
                <p:oleObj name="think-cell Slide" r:id="rId6"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7"/>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428773"/>
            <a:ext cx="7801527" cy="415498"/>
          </a:xfrm>
        </p:spPr>
        <p:txBody>
          <a:bodyPr/>
          <a:lstStyle/>
          <a:p>
            <a:r>
              <a:rPr lang="en-US" dirty="0"/>
              <a:t>Nephros Proprietary Membrane Technology</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a:defRPr/>
            </a:pPr>
            <a:fld id="{1703025F-5038-48A2-8F2E-D28A39FB9727}" type="slidenum">
              <a:rPr lang="en-US">
                <a:solidFill>
                  <a:prstClr val="white"/>
                </a:solidFill>
                <a:latin typeface="Calibri Regular"/>
              </a:rPr>
              <a:pPr>
                <a:defRPr/>
              </a:pPr>
              <a:t>12</a:t>
            </a:fld>
            <a:endParaRPr lang="en-US" dirty="0">
              <a:solidFill>
                <a:prstClr val="white"/>
              </a:solidFill>
              <a:latin typeface="Calibri Regular"/>
            </a:endParaRPr>
          </a:p>
        </p:txBody>
      </p:sp>
      <p:sp>
        <p:nvSpPr>
          <p:cNvPr id="10" name="Rectangle 9">
            <a:extLst>
              <a:ext uri="{FF2B5EF4-FFF2-40B4-BE49-F238E27FC236}">
                <a16:creationId xmlns:a16="http://schemas.microsoft.com/office/drawing/2014/main" id="{A51F43F5-1524-484E-BDF3-9F2614014D25}"/>
              </a:ext>
            </a:extLst>
          </p:cNvPr>
          <p:cNvSpPr/>
          <p:nvPr/>
        </p:nvSpPr>
        <p:spPr bwMode="auto">
          <a:xfrm>
            <a:off x="5411114" y="1820619"/>
            <a:ext cx="2715083" cy="984997"/>
          </a:xfrm>
          <a:prstGeom prst="rect">
            <a:avLst/>
          </a:prstGeom>
          <a:noFill/>
          <a:ln w="1905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b="1" kern="0" dirty="0">
                <a:solidFill>
                  <a:srgbClr val="000000"/>
                </a:solidFill>
                <a:latin typeface="Arial" charset="0"/>
                <a:ea typeface="ＭＳ Ｐゴシック" pitchFamily="34" charset="-128"/>
              </a:rPr>
              <a:t>Nephros</a:t>
            </a:r>
          </a:p>
          <a:p>
            <a:pPr algn="ctr" fontAlgn="base">
              <a:spcBef>
                <a:spcPct val="0"/>
              </a:spcBef>
              <a:spcAft>
                <a:spcPct val="0"/>
              </a:spcAft>
            </a:pPr>
            <a:r>
              <a:rPr lang="en-US" b="1" kern="0" dirty="0">
                <a:solidFill>
                  <a:srgbClr val="000000"/>
                </a:solidFill>
                <a:latin typeface="Arial" charset="0"/>
                <a:ea typeface="ＭＳ Ｐゴシック" pitchFamily="34" charset="-128"/>
              </a:rPr>
              <a:t>Ultrafilters</a:t>
            </a:r>
          </a:p>
          <a:p>
            <a:pPr algn="ctr" fontAlgn="base">
              <a:spcBef>
                <a:spcPct val="0"/>
              </a:spcBef>
              <a:spcAft>
                <a:spcPct val="0"/>
              </a:spcAft>
            </a:pPr>
            <a:r>
              <a:rPr lang="en-US" b="1" kern="0" dirty="0">
                <a:solidFill>
                  <a:srgbClr val="000000"/>
                </a:solidFill>
                <a:latin typeface="Arial" charset="0"/>
                <a:ea typeface="ＭＳ Ｐゴシック" pitchFamily="34" charset="-128"/>
              </a:rPr>
              <a:t>(0.005 </a:t>
            </a:r>
            <a:r>
              <a:rPr lang="el-GR" b="1" kern="0" dirty="0">
                <a:solidFill>
                  <a:srgbClr val="000000"/>
                </a:solidFill>
                <a:latin typeface="Arial" charset="0"/>
                <a:ea typeface="ＭＳ Ｐゴシック" pitchFamily="34" charset="-128"/>
              </a:rPr>
              <a:t>μ</a:t>
            </a:r>
            <a:r>
              <a:rPr lang="en-US" b="1" kern="0" dirty="0">
                <a:solidFill>
                  <a:srgbClr val="000000"/>
                </a:solidFill>
                <a:latin typeface="Arial" charset="0"/>
                <a:ea typeface="ＭＳ Ｐゴシック" pitchFamily="34" charset="-128"/>
              </a:rPr>
              <a:t>m pore size) </a:t>
            </a:r>
          </a:p>
        </p:txBody>
      </p:sp>
      <p:sp>
        <p:nvSpPr>
          <p:cNvPr id="11" name="Rectangle 10">
            <a:extLst>
              <a:ext uri="{FF2B5EF4-FFF2-40B4-BE49-F238E27FC236}">
                <a16:creationId xmlns:a16="http://schemas.microsoft.com/office/drawing/2014/main" id="{B2683C44-15DB-4621-979F-2628BA6E809B}"/>
              </a:ext>
            </a:extLst>
          </p:cNvPr>
          <p:cNvSpPr/>
          <p:nvPr/>
        </p:nvSpPr>
        <p:spPr bwMode="auto">
          <a:xfrm>
            <a:off x="2832710" y="1820619"/>
            <a:ext cx="2338627" cy="984997"/>
          </a:xfrm>
          <a:prstGeom prst="rect">
            <a:avLst/>
          </a:prstGeom>
          <a:noFill/>
          <a:ln w="1905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r>
              <a:rPr lang="en-US" b="1" kern="0" dirty="0">
                <a:solidFill>
                  <a:srgbClr val="000000"/>
                </a:solidFill>
                <a:latin typeface="Arial" charset="0"/>
                <a:ea typeface="ＭＳ Ｐゴシック" pitchFamily="34" charset="-128"/>
              </a:rPr>
              <a:t>Conventional Microfilters</a:t>
            </a:r>
          </a:p>
          <a:p>
            <a:pPr algn="ctr" fontAlgn="base">
              <a:spcBef>
                <a:spcPct val="0"/>
              </a:spcBef>
              <a:spcAft>
                <a:spcPct val="0"/>
              </a:spcAft>
              <a:defRPr/>
            </a:pPr>
            <a:r>
              <a:rPr lang="en-US" b="1" kern="0" dirty="0">
                <a:solidFill>
                  <a:srgbClr val="000000"/>
                </a:solidFill>
                <a:latin typeface="Arial" charset="0"/>
                <a:ea typeface="ＭＳ Ｐゴシック" pitchFamily="34" charset="-128"/>
              </a:rPr>
              <a:t>(0.2 </a:t>
            </a:r>
            <a:r>
              <a:rPr lang="el-GR" b="1" kern="0" dirty="0">
                <a:solidFill>
                  <a:srgbClr val="000000"/>
                </a:solidFill>
                <a:latin typeface="Arial" charset="0"/>
                <a:ea typeface="ＭＳ Ｐゴシック" pitchFamily="34" charset="-128"/>
              </a:rPr>
              <a:t>μ</a:t>
            </a:r>
            <a:r>
              <a:rPr lang="en-US" b="1" kern="0" dirty="0">
                <a:solidFill>
                  <a:srgbClr val="000000"/>
                </a:solidFill>
                <a:latin typeface="Arial" charset="0"/>
                <a:ea typeface="ＭＳ Ｐゴシック" pitchFamily="34" charset="-128"/>
              </a:rPr>
              <a:t>m pore size) </a:t>
            </a:r>
          </a:p>
        </p:txBody>
      </p:sp>
      <p:sp>
        <p:nvSpPr>
          <p:cNvPr id="13" name="Right Arrow 9">
            <a:extLst>
              <a:ext uri="{FF2B5EF4-FFF2-40B4-BE49-F238E27FC236}">
                <a16:creationId xmlns:a16="http://schemas.microsoft.com/office/drawing/2014/main" id="{078D1265-D792-413A-9588-15049966BB56}"/>
              </a:ext>
            </a:extLst>
          </p:cNvPr>
          <p:cNvSpPr/>
          <p:nvPr/>
        </p:nvSpPr>
        <p:spPr bwMode="auto">
          <a:xfrm>
            <a:off x="488522" y="4899111"/>
            <a:ext cx="4937760" cy="822960"/>
          </a:xfrm>
          <a:prstGeom prst="rightArrow">
            <a:avLst>
              <a:gd name="adj1" fmla="val 99778"/>
              <a:gd name="adj2" fmla="val 21453"/>
            </a:avLst>
          </a:prstGeom>
          <a:solidFill>
            <a:srgbClr val="99D0F5">
              <a:alpha val="65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150000"/>
              </a:lnSpc>
              <a:spcBef>
                <a:spcPct val="0"/>
              </a:spcBef>
              <a:spcAft>
                <a:spcPct val="0"/>
              </a:spcAft>
              <a:defRPr/>
            </a:pPr>
            <a:r>
              <a:rPr lang="en-US" sz="1400" b="1" dirty="0">
                <a:solidFill>
                  <a:srgbClr val="000000"/>
                </a:solidFill>
                <a:latin typeface="Arial" charset="0"/>
                <a:ea typeface="ＭＳ Ｐゴシック" pitchFamily="34" charset="-128"/>
              </a:rPr>
              <a:t>Endotoxins</a:t>
            </a:r>
          </a:p>
        </p:txBody>
      </p:sp>
      <p:sp>
        <p:nvSpPr>
          <p:cNvPr id="15" name="Right Arrow 11">
            <a:extLst>
              <a:ext uri="{FF2B5EF4-FFF2-40B4-BE49-F238E27FC236}">
                <a16:creationId xmlns:a16="http://schemas.microsoft.com/office/drawing/2014/main" id="{4DD552DE-337C-4C22-880E-F6C6DB6EC281}"/>
              </a:ext>
            </a:extLst>
          </p:cNvPr>
          <p:cNvSpPr/>
          <p:nvPr/>
        </p:nvSpPr>
        <p:spPr bwMode="auto">
          <a:xfrm>
            <a:off x="488524" y="2947597"/>
            <a:ext cx="2702546" cy="822960"/>
          </a:xfrm>
          <a:prstGeom prst="rightArrow">
            <a:avLst>
              <a:gd name="adj1" fmla="val 99778"/>
              <a:gd name="adj2" fmla="val 25845"/>
            </a:avLst>
          </a:prstGeom>
          <a:solidFill>
            <a:schemeClr val="accent5">
              <a:lumMod val="20000"/>
              <a:lumOff val="80000"/>
              <a:alpha val="6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150000"/>
              </a:lnSpc>
              <a:spcBef>
                <a:spcPct val="0"/>
              </a:spcBef>
              <a:spcAft>
                <a:spcPct val="0"/>
              </a:spcAft>
              <a:defRPr/>
            </a:pPr>
            <a:r>
              <a:rPr lang="en-US" sz="1400" b="1" dirty="0">
                <a:solidFill>
                  <a:srgbClr val="000000"/>
                </a:solidFill>
                <a:latin typeface="Arial" charset="0"/>
                <a:ea typeface="ＭＳ Ｐゴシック" pitchFamily="34" charset="-128"/>
              </a:rPr>
              <a:t>Bacteria</a:t>
            </a:r>
          </a:p>
        </p:txBody>
      </p:sp>
      <p:cxnSp>
        <p:nvCxnSpPr>
          <p:cNvPr id="17" name="Straight Connector 16">
            <a:extLst>
              <a:ext uri="{FF2B5EF4-FFF2-40B4-BE49-F238E27FC236}">
                <a16:creationId xmlns:a16="http://schemas.microsoft.com/office/drawing/2014/main" id="{D06C632B-866A-4981-88E7-867798B8CDDB}"/>
              </a:ext>
            </a:extLst>
          </p:cNvPr>
          <p:cNvCxnSpPr/>
          <p:nvPr/>
        </p:nvCxnSpPr>
        <p:spPr bwMode="auto">
          <a:xfrm>
            <a:off x="2829003" y="2814237"/>
            <a:ext cx="0" cy="3017520"/>
          </a:xfrm>
          <a:prstGeom prst="line">
            <a:avLst/>
          </a:prstGeom>
          <a:noFill/>
          <a:ln w="38100" cap="flat" cmpd="sng" algn="ctr">
            <a:solidFill>
              <a:schemeClr val="bg1">
                <a:lumMod val="65000"/>
              </a:schemeClr>
            </a:solidFill>
            <a:prstDash val="dash"/>
            <a:round/>
            <a:headEnd type="none" w="med" len="med"/>
            <a:tailEnd type="none" w="med" len="med"/>
          </a:ln>
          <a:effectLst/>
        </p:spPr>
      </p:cxnSp>
      <p:sp>
        <p:nvSpPr>
          <p:cNvPr id="19" name="TextBox 18">
            <a:extLst>
              <a:ext uri="{FF2B5EF4-FFF2-40B4-BE49-F238E27FC236}">
                <a16:creationId xmlns:a16="http://schemas.microsoft.com/office/drawing/2014/main" id="{8B7BDF21-4C80-4B8E-B2C5-AA332527A030}"/>
              </a:ext>
            </a:extLst>
          </p:cNvPr>
          <p:cNvSpPr txBox="1"/>
          <p:nvPr/>
        </p:nvSpPr>
        <p:spPr>
          <a:xfrm>
            <a:off x="0" y="6012539"/>
            <a:ext cx="9144000" cy="400110"/>
          </a:xfrm>
          <a:prstGeom prst="rect">
            <a:avLst/>
          </a:prstGeom>
          <a:noFill/>
        </p:spPr>
        <p:txBody>
          <a:bodyPr wrap="square" rtlCol="0">
            <a:spAutoFit/>
          </a:bodyPr>
          <a:lstStyle/>
          <a:p>
            <a:pPr algn="ctr" fontAlgn="base">
              <a:spcBef>
                <a:spcPct val="0"/>
              </a:spcBef>
              <a:spcAft>
                <a:spcPct val="0"/>
              </a:spcAft>
            </a:pPr>
            <a:r>
              <a:rPr lang="en-US" sz="2000" b="1" i="1" dirty="0">
                <a:solidFill>
                  <a:srgbClr val="280071"/>
                </a:solidFill>
                <a:latin typeface="Arial" charset="0"/>
                <a:ea typeface="MS PGothic"/>
              </a:rPr>
              <a:t>Nephros ultrafilter pore size: 40x smaller than conventional filters</a:t>
            </a:r>
          </a:p>
        </p:txBody>
      </p:sp>
      <p:cxnSp>
        <p:nvCxnSpPr>
          <p:cNvPr id="22" name="Straight Connector 21">
            <a:extLst>
              <a:ext uri="{FF2B5EF4-FFF2-40B4-BE49-F238E27FC236}">
                <a16:creationId xmlns:a16="http://schemas.microsoft.com/office/drawing/2014/main" id="{DD509E75-8D91-493F-92E1-AD7EA097CF0C}"/>
              </a:ext>
            </a:extLst>
          </p:cNvPr>
          <p:cNvCxnSpPr/>
          <p:nvPr/>
        </p:nvCxnSpPr>
        <p:spPr bwMode="auto">
          <a:xfrm>
            <a:off x="5405419" y="2814237"/>
            <a:ext cx="0" cy="3017520"/>
          </a:xfrm>
          <a:prstGeom prst="line">
            <a:avLst/>
          </a:prstGeom>
          <a:noFill/>
          <a:ln w="38100" cap="flat" cmpd="sng" algn="ctr">
            <a:solidFill>
              <a:schemeClr val="bg1">
                <a:lumMod val="65000"/>
              </a:schemeClr>
            </a:solidFill>
            <a:prstDash val="dash"/>
            <a:round/>
            <a:headEnd type="none" w="med" len="med"/>
            <a:tailEnd type="none" w="med" len="med"/>
          </a:ln>
          <a:effectLst/>
        </p:spPr>
      </p:cxnSp>
      <p:sp>
        <p:nvSpPr>
          <p:cNvPr id="14" name="Right Arrow 10">
            <a:extLst>
              <a:ext uri="{FF2B5EF4-FFF2-40B4-BE49-F238E27FC236}">
                <a16:creationId xmlns:a16="http://schemas.microsoft.com/office/drawing/2014/main" id="{A2B873E9-30A0-4EBE-969C-05F34A15D54C}"/>
              </a:ext>
            </a:extLst>
          </p:cNvPr>
          <p:cNvSpPr/>
          <p:nvPr/>
        </p:nvSpPr>
        <p:spPr bwMode="auto">
          <a:xfrm>
            <a:off x="488522" y="3923354"/>
            <a:ext cx="4937760" cy="822960"/>
          </a:xfrm>
          <a:prstGeom prst="rightArrow">
            <a:avLst>
              <a:gd name="adj1" fmla="val 99778"/>
              <a:gd name="adj2" fmla="val 25845"/>
            </a:avLst>
          </a:prstGeom>
          <a:solidFill>
            <a:srgbClr val="FFE181">
              <a:alpha val="62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150000"/>
              </a:lnSpc>
              <a:spcBef>
                <a:spcPct val="0"/>
              </a:spcBef>
              <a:spcAft>
                <a:spcPct val="0"/>
              </a:spcAft>
              <a:defRPr/>
            </a:pPr>
            <a:r>
              <a:rPr lang="en-US" sz="1400" b="1" dirty="0">
                <a:solidFill>
                  <a:srgbClr val="000000"/>
                </a:solidFill>
                <a:latin typeface="Arial" charset="0"/>
                <a:ea typeface="ＭＳ Ｐゴシック" pitchFamily="34" charset="-128"/>
              </a:rPr>
              <a:t>Viruses</a:t>
            </a:r>
          </a:p>
        </p:txBody>
      </p:sp>
      <p:sp>
        <p:nvSpPr>
          <p:cNvPr id="24" name="Text Placeholder 3">
            <a:extLst>
              <a:ext uri="{FF2B5EF4-FFF2-40B4-BE49-F238E27FC236}">
                <a16:creationId xmlns:a16="http://schemas.microsoft.com/office/drawing/2014/main" id="{3858DD2C-6E97-425A-B2CB-D6DF3D3A42FE}"/>
              </a:ext>
            </a:extLst>
          </p:cNvPr>
          <p:cNvSpPr txBox="1">
            <a:spLocks/>
          </p:cNvSpPr>
          <p:nvPr/>
        </p:nvSpPr>
        <p:spPr>
          <a:xfrm>
            <a:off x="185759" y="1164087"/>
            <a:ext cx="8668465" cy="630942"/>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ct val="0"/>
              </a:spcBef>
              <a:spcAft>
                <a:spcPct val="0"/>
              </a:spcAft>
              <a:buFont typeface="Wingdings" panose="05000000000000000000" pitchFamily="2" charset="2"/>
              <a:buChar char="§"/>
            </a:pPr>
            <a:r>
              <a:rPr lang="en-US" sz="1400" dirty="0">
                <a:solidFill>
                  <a:srgbClr val="002060"/>
                </a:solidFill>
                <a:latin typeface="Arial" charset="0"/>
                <a:ea typeface="MS PGothic"/>
              </a:rPr>
              <a:t>Conventional microfilters can stop most, but not all bacteria and are insufficient in filtering viruses and endotoxins</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Tree>
    <p:extLst>
      <p:ext uri="{BB962C8B-B14F-4D97-AF65-F5344CB8AC3E}">
        <p14:creationId xmlns:p14="http://schemas.microsoft.com/office/powerpoint/2010/main" val="25497879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Down Arrow 2">
            <a:extLst>
              <a:ext uri="{FF2B5EF4-FFF2-40B4-BE49-F238E27FC236}">
                <a16:creationId xmlns:a16="http://schemas.microsoft.com/office/drawing/2014/main" id="{2AECC130-9DA2-423E-9435-2B7B07F16B2A}"/>
              </a:ext>
            </a:extLst>
          </p:cNvPr>
          <p:cNvSpPr/>
          <p:nvPr/>
        </p:nvSpPr>
        <p:spPr bwMode="auto">
          <a:xfrm rot="16200000">
            <a:off x="4690514" y="2455544"/>
            <a:ext cx="822960" cy="5088767"/>
          </a:xfrm>
          <a:prstGeom prst="downArrow">
            <a:avLst/>
          </a:prstGeom>
          <a:gradFill>
            <a:gsLst>
              <a:gs pos="100000">
                <a:srgbClr val="FFC000"/>
              </a:gs>
              <a:gs pos="41000">
                <a:srgbClr val="BBE0E3">
                  <a:lumMod val="45000"/>
                  <a:lumOff val="55000"/>
                </a:srgbClr>
              </a:gs>
              <a:gs pos="0">
                <a:srgbClr val="BBE0E3">
                  <a:lumMod val="45000"/>
                  <a:lumOff val="55000"/>
                </a:srgbClr>
              </a:gs>
              <a:gs pos="100000">
                <a:srgbClr val="BBE0E3">
                  <a:lumMod val="30000"/>
                  <a:lumOff val="7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en-US" kern="0" dirty="0">
              <a:solidFill>
                <a:srgbClr val="FFFFFF"/>
              </a:solidFill>
              <a:latin typeface="Arial" charset="0"/>
              <a:ea typeface="ＭＳ Ｐゴシック" pitchFamily="34" charset="-128"/>
            </a:endParaRPr>
          </a:p>
        </p:txBody>
      </p:sp>
      <p:sp>
        <p:nvSpPr>
          <p:cNvPr id="61" name="Oval 60">
            <a:extLst>
              <a:ext uri="{FF2B5EF4-FFF2-40B4-BE49-F238E27FC236}">
                <a16:creationId xmlns:a16="http://schemas.microsoft.com/office/drawing/2014/main" id="{CA946D51-C229-42E0-BA85-FAA565089298}"/>
              </a:ext>
            </a:extLst>
          </p:cNvPr>
          <p:cNvSpPr/>
          <p:nvPr/>
        </p:nvSpPr>
        <p:spPr>
          <a:xfrm>
            <a:off x="7769470" y="4681857"/>
            <a:ext cx="1204916" cy="630942"/>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b="1" dirty="0">
                <a:solidFill>
                  <a:schemeClr val="tx1"/>
                </a:solidFill>
                <a:latin typeface="Arial" panose="020B0604020202020204" pitchFamily="34" charset="0"/>
                <a:cs typeface="Arial" panose="020B0604020202020204" pitchFamily="34" charset="0"/>
              </a:rPr>
              <a:t>3 – 28x</a:t>
            </a:r>
          </a:p>
          <a:p>
            <a:pPr algn="ctr"/>
            <a:r>
              <a:rPr lang="en-US" sz="1050" b="1" dirty="0">
                <a:solidFill>
                  <a:schemeClr val="tx1"/>
                </a:solidFill>
                <a:latin typeface="Arial" panose="020B0604020202020204" pitchFamily="34" charset="0"/>
                <a:cs typeface="Arial" panose="020B0604020202020204" pitchFamily="34" charset="0"/>
              </a:rPr>
              <a:t>competitor</a:t>
            </a:r>
          </a:p>
        </p:txBody>
      </p:sp>
      <p:sp>
        <p:nvSpPr>
          <p:cNvPr id="56" name="Down Arrow 2">
            <a:extLst>
              <a:ext uri="{FF2B5EF4-FFF2-40B4-BE49-F238E27FC236}">
                <a16:creationId xmlns:a16="http://schemas.microsoft.com/office/drawing/2014/main" id="{A4836D21-DE32-40AD-89FD-462FA2E15ADB}"/>
              </a:ext>
            </a:extLst>
          </p:cNvPr>
          <p:cNvSpPr/>
          <p:nvPr/>
        </p:nvSpPr>
        <p:spPr bwMode="auto">
          <a:xfrm rot="16200000">
            <a:off x="4696376" y="1327195"/>
            <a:ext cx="822960" cy="5088767"/>
          </a:xfrm>
          <a:prstGeom prst="downArrow">
            <a:avLst/>
          </a:prstGeom>
          <a:gradFill>
            <a:gsLst>
              <a:gs pos="100000">
                <a:srgbClr val="FFC000"/>
              </a:gs>
              <a:gs pos="41000">
                <a:srgbClr val="BBE0E3">
                  <a:lumMod val="45000"/>
                  <a:lumOff val="55000"/>
                </a:srgbClr>
              </a:gs>
              <a:gs pos="0">
                <a:srgbClr val="BBE0E3">
                  <a:lumMod val="45000"/>
                  <a:lumOff val="55000"/>
                </a:srgbClr>
              </a:gs>
              <a:gs pos="100000">
                <a:srgbClr val="BBE0E3">
                  <a:lumMod val="30000"/>
                  <a:lumOff val="7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en-US" kern="0" dirty="0">
              <a:solidFill>
                <a:srgbClr val="FFFFFF"/>
              </a:solidFill>
              <a:latin typeface="Arial" charset="0"/>
              <a:ea typeface="ＭＳ Ｐゴシック" pitchFamily="34" charset="-128"/>
            </a:endParaRPr>
          </a:p>
        </p:txBody>
      </p:sp>
      <p:sp>
        <p:nvSpPr>
          <p:cNvPr id="54" name="Down Arrow 2">
            <a:extLst>
              <a:ext uri="{FF2B5EF4-FFF2-40B4-BE49-F238E27FC236}">
                <a16:creationId xmlns:a16="http://schemas.microsoft.com/office/drawing/2014/main" id="{C715320A-8C32-463B-AA95-4C230F4E9417}"/>
              </a:ext>
            </a:extLst>
          </p:cNvPr>
          <p:cNvSpPr/>
          <p:nvPr/>
        </p:nvSpPr>
        <p:spPr bwMode="auto">
          <a:xfrm rot="16200000">
            <a:off x="4693444" y="304359"/>
            <a:ext cx="822960" cy="5088767"/>
          </a:xfrm>
          <a:prstGeom prst="downArrow">
            <a:avLst/>
          </a:prstGeom>
          <a:gradFill>
            <a:gsLst>
              <a:gs pos="100000">
                <a:srgbClr val="FFC000"/>
              </a:gs>
              <a:gs pos="41000">
                <a:srgbClr val="BBE0E3">
                  <a:lumMod val="45000"/>
                  <a:lumOff val="55000"/>
                </a:srgbClr>
              </a:gs>
              <a:gs pos="0">
                <a:srgbClr val="BBE0E3">
                  <a:lumMod val="45000"/>
                  <a:lumOff val="55000"/>
                </a:srgbClr>
              </a:gs>
              <a:gs pos="100000">
                <a:srgbClr val="BBE0E3">
                  <a:lumMod val="30000"/>
                  <a:lumOff val="7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en-US" kern="0" dirty="0">
              <a:solidFill>
                <a:srgbClr val="FFFFFF"/>
              </a:solidFill>
              <a:latin typeface="Arial" charset="0"/>
              <a:ea typeface="ＭＳ Ｐゴシック" pitchFamily="34" charset="-128"/>
            </a:endParaRPr>
          </a:p>
        </p:txBody>
      </p:sp>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4717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435468"/>
            <a:ext cx="7801527" cy="415498"/>
          </a:xfrm>
        </p:spPr>
        <p:txBody>
          <a:bodyPr/>
          <a:lstStyle/>
          <a:p>
            <a:r>
              <a:rPr lang="en-US" dirty="0"/>
              <a:t>Nephros Proprietary Membrane Technology</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a:defRPr/>
            </a:pPr>
            <a:fld id="{1703025F-5038-48A2-8F2E-D28A39FB9727}" type="slidenum">
              <a:rPr lang="en-US">
                <a:solidFill>
                  <a:prstClr val="white"/>
                </a:solidFill>
                <a:latin typeface="Calibri Regular"/>
              </a:rPr>
              <a:pPr>
                <a:defRPr/>
              </a:pPr>
              <a:t>13</a:t>
            </a:fld>
            <a:endParaRPr lang="en-US" dirty="0">
              <a:solidFill>
                <a:prstClr val="white"/>
              </a:solidFill>
              <a:latin typeface="Calibri Regular"/>
            </a:endParaRPr>
          </a:p>
        </p:txBody>
      </p:sp>
      <p:sp>
        <p:nvSpPr>
          <p:cNvPr id="4" name="TextBox 3">
            <a:extLst>
              <a:ext uri="{FF2B5EF4-FFF2-40B4-BE49-F238E27FC236}">
                <a16:creationId xmlns:a16="http://schemas.microsoft.com/office/drawing/2014/main" id="{C72FED1C-F6BA-48D8-8582-032A927630B4}"/>
              </a:ext>
            </a:extLst>
          </p:cNvPr>
          <p:cNvSpPr txBox="1"/>
          <p:nvPr/>
        </p:nvSpPr>
        <p:spPr>
          <a:xfrm>
            <a:off x="525626" y="5642681"/>
            <a:ext cx="8092755" cy="61555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2000" b="1" i="1" dirty="0">
                <a:solidFill>
                  <a:srgbClr val="280071"/>
                </a:solidFill>
                <a:latin typeface="Arial" panose="020B0604020202020204" pitchFamily="34" charset="0"/>
                <a:cs typeface="Arial" panose="020B0604020202020204" pitchFamily="34" charset="0"/>
              </a:rPr>
              <a:t>Nephros filters dramatically improve performance at a smaller cost per day vs. conventional filters</a:t>
            </a:r>
          </a:p>
        </p:txBody>
      </p:sp>
      <p:sp>
        <p:nvSpPr>
          <p:cNvPr id="34" name="Text Placeholder 3">
            <a:extLst>
              <a:ext uri="{FF2B5EF4-FFF2-40B4-BE49-F238E27FC236}">
                <a16:creationId xmlns:a16="http://schemas.microsoft.com/office/drawing/2014/main" id="{6349C3B9-9C6A-41F6-BD67-AF4D378B295B}"/>
              </a:ext>
            </a:extLst>
          </p:cNvPr>
          <p:cNvSpPr txBox="1">
            <a:spLocks/>
          </p:cNvSpPr>
          <p:nvPr/>
        </p:nvSpPr>
        <p:spPr>
          <a:xfrm>
            <a:off x="185759" y="1164087"/>
            <a:ext cx="8668465" cy="630942"/>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ct val="0"/>
              </a:spcBef>
              <a:spcAft>
                <a:spcPct val="0"/>
              </a:spcAft>
              <a:buFont typeface="Wingdings" panose="05000000000000000000" pitchFamily="2" charset="2"/>
              <a:buChar char="§"/>
            </a:pPr>
            <a:r>
              <a:rPr lang="en-US" sz="1400" dirty="0">
                <a:solidFill>
                  <a:srgbClr val="002060"/>
                </a:solidFill>
                <a:latin typeface="Arial" charset="0"/>
                <a:ea typeface="MS PGothic"/>
              </a:rPr>
              <a:t>Nephros’ proprietary membrane technology offers smallest pore size without compromising flow rate and filter life</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
        <p:nvSpPr>
          <p:cNvPr id="35" name="Text Placeholder 3">
            <a:extLst>
              <a:ext uri="{FF2B5EF4-FFF2-40B4-BE49-F238E27FC236}">
                <a16:creationId xmlns:a16="http://schemas.microsoft.com/office/drawing/2014/main" id="{EADB1563-9759-4460-B522-3B81584CAD3D}"/>
              </a:ext>
            </a:extLst>
          </p:cNvPr>
          <p:cNvSpPr txBox="1">
            <a:spLocks/>
          </p:cNvSpPr>
          <p:nvPr/>
        </p:nvSpPr>
        <p:spPr>
          <a:xfrm>
            <a:off x="2113472" y="1685832"/>
            <a:ext cx="4917057" cy="21544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400" dirty="0">
                <a:solidFill>
                  <a:srgbClr val="002060"/>
                </a:solidFill>
                <a:latin typeface="Arial" charset="0"/>
                <a:ea typeface="MS PGothic"/>
              </a:rPr>
              <a:t>KEY FEATURES IN WATER FILTERS</a:t>
            </a:r>
          </a:p>
        </p:txBody>
      </p:sp>
      <p:cxnSp>
        <p:nvCxnSpPr>
          <p:cNvPr id="36" name="Straight Connector 35">
            <a:extLst>
              <a:ext uri="{FF2B5EF4-FFF2-40B4-BE49-F238E27FC236}">
                <a16:creationId xmlns:a16="http://schemas.microsoft.com/office/drawing/2014/main" id="{27F9FC27-AD38-499A-ABBB-D3FC0D6809EC}"/>
              </a:ext>
            </a:extLst>
          </p:cNvPr>
          <p:cNvCxnSpPr/>
          <p:nvPr/>
        </p:nvCxnSpPr>
        <p:spPr>
          <a:xfrm>
            <a:off x="1371600" y="1935159"/>
            <a:ext cx="64008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ADE65A82-032B-43E3-9917-7A1DC77BA474}"/>
              </a:ext>
            </a:extLst>
          </p:cNvPr>
          <p:cNvGrpSpPr/>
          <p:nvPr/>
        </p:nvGrpSpPr>
        <p:grpSpPr>
          <a:xfrm>
            <a:off x="317948" y="2476262"/>
            <a:ext cx="2420299" cy="754901"/>
            <a:chOff x="1754769" y="203626"/>
            <a:chExt cx="2420298" cy="754901"/>
          </a:xfrm>
        </p:grpSpPr>
        <p:sp>
          <p:nvSpPr>
            <p:cNvPr id="41" name="Rounded Rectangle 6">
              <a:extLst>
                <a:ext uri="{FF2B5EF4-FFF2-40B4-BE49-F238E27FC236}">
                  <a16:creationId xmlns:a16="http://schemas.microsoft.com/office/drawing/2014/main" id="{EDD61699-B1E6-47A9-A401-2AC6A117B69D}"/>
                </a:ext>
              </a:extLst>
            </p:cNvPr>
            <p:cNvSpPr/>
            <p:nvPr/>
          </p:nvSpPr>
          <p:spPr>
            <a:xfrm>
              <a:off x="1754769" y="203626"/>
              <a:ext cx="2420298" cy="754901"/>
            </a:xfrm>
            <a:prstGeom prst="roundRect">
              <a:avLst>
                <a:gd name="adj" fmla="val 10000"/>
              </a:avLst>
            </a:prstGeom>
            <a:solidFill>
              <a:srgbClr val="0071FE"/>
            </a:solidFill>
            <a:ln w="19050" cap="flat" cmpd="sng" algn="ctr">
              <a:solidFill>
                <a:srgbClr val="FFCC33"/>
              </a:solidFill>
              <a:prstDash val="solid"/>
            </a:ln>
            <a:effectLst/>
          </p:spPr>
        </p:sp>
        <p:sp>
          <p:nvSpPr>
            <p:cNvPr id="42" name="Rounded Rectangle 4">
              <a:extLst>
                <a:ext uri="{FF2B5EF4-FFF2-40B4-BE49-F238E27FC236}">
                  <a16:creationId xmlns:a16="http://schemas.microsoft.com/office/drawing/2014/main" id="{B9784435-00A7-49F7-93B6-7276EC5A2ED6}"/>
                </a:ext>
              </a:extLst>
            </p:cNvPr>
            <p:cNvSpPr/>
            <p:nvPr/>
          </p:nvSpPr>
          <p:spPr>
            <a:xfrm>
              <a:off x="1776879" y="225736"/>
              <a:ext cx="2376078" cy="710681"/>
            </a:xfrm>
            <a:prstGeom prst="rect">
              <a:avLst/>
            </a:prstGeom>
            <a:noFill/>
            <a:ln>
              <a:noFill/>
            </a:ln>
            <a:effectLst/>
          </p:spPr>
          <p:txBody>
            <a:bodyPr spcFirstLastPara="0" vert="horz" wrap="square" lIns="91440" tIns="91440" rIns="91440" bIns="91440" numCol="1" spcCol="1270" anchor="ctr" anchorCtr="0">
              <a:noAutofit/>
            </a:bodyPr>
            <a:lstStyle/>
            <a:p>
              <a:pPr algn="ctr" defTabSz="1066773" fontAlgn="base">
                <a:spcBef>
                  <a:spcPct val="0"/>
                </a:spcBef>
                <a:defRPr/>
              </a:pPr>
              <a:r>
                <a:rPr lang="en-US" sz="2000" kern="0" dirty="0">
                  <a:solidFill>
                    <a:srgbClr val="FFFFFF"/>
                  </a:solidFill>
                  <a:latin typeface="Trebuchet MS" pitchFamily="34" charset="0"/>
                  <a:ea typeface="ＭＳ Ｐゴシック"/>
                </a:rPr>
                <a:t>Filtration</a:t>
              </a:r>
            </a:p>
            <a:p>
              <a:pPr algn="ctr" defTabSz="1066773" fontAlgn="base">
                <a:spcBef>
                  <a:spcPct val="0"/>
                </a:spcBef>
                <a:defRPr/>
              </a:pPr>
              <a:r>
                <a:rPr lang="en-US" sz="1600" kern="0" dirty="0">
                  <a:solidFill>
                    <a:srgbClr val="FFFFFF"/>
                  </a:solidFill>
                  <a:latin typeface="Trebuchet MS" pitchFamily="34" charset="0"/>
                  <a:ea typeface="ＭＳ Ｐゴシック"/>
                </a:rPr>
                <a:t>(Pore Size)</a:t>
              </a:r>
            </a:p>
          </p:txBody>
        </p:sp>
      </p:grpSp>
      <p:grpSp>
        <p:nvGrpSpPr>
          <p:cNvPr id="43" name="Group 42">
            <a:extLst>
              <a:ext uri="{FF2B5EF4-FFF2-40B4-BE49-F238E27FC236}">
                <a16:creationId xmlns:a16="http://schemas.microsoft.com/office/drawing/2014/main" id="{C0F1BDB0-7AF1-4022-A193-819EA1252CFA}"/>
              </a:ext>
            </a:extLst>
          </p:cNvPr>
          <p:cNvGrpSpPr/>
          <p:nvPr/>
        </p:nvGrpSpPr>
        <p:grpSpPr>
          <a:xfrm>
            <a:off x="317948" y="3509979"/>
            <a:ext cx="2504123" cy="754901"/>
            <a:chOff x="3472024" y="2460109"/>
            <a:chExt cx="2504123" cy="754901"/>
          </a:xfrm>
        </p:grpSpPr>
        <p:sp>
          <p:nvSpPr>
            <p:cNvPr id="44" name="Rounded Rectangle 9">
              <a:extLst>
                <a:ext uri="{FF2B5EF4-FFF2-40B4-BE49-F238E27FC236}">
                  <a16:creationId xmlns:a16="http://schemas.microsoft.com/office/drawing/2014/main" id="{8D2DA02D-F3DC-4375-A489-0D81DBE1F505}"/>
                </a:ext>
              </a:extLst>
            </p:cNvPr>
            <p:cNvSpPr/>
            <p:nvPr/>
          </p:nvSpPr>
          <p:spPr>
            <a:xfrm>
              <a:off x="3472024" y="2460109"/>
              <a:ext cx="2429847" cy="754901"/>
            </a:xfrm>
            <a:prstGeom prst="roundRect">
              <a:avLst>
                <a:gd name="adj" fmla="val 10000"/>
              </a:avLst>
            </a:prstGeom>
            <a:solidFill>
              <a:srgbClr val="0071FE"/>
            </a:solidFill>
            <a:ln w="19050" cap="flat" cmpd="sng" algn="ctr">
              <a:solidFill>
                <a:srgbClr val="FFCC33"/>
              </a:solidFill>
              <a:prstDash val="solid"/>
            </a:ln>
            <a:effectLst/>
          </p:spPr>
        </p:sp>
        <p:sp>
          <p:nvSpPr>
            <p:cNvPr id="45" name="Rounded Rectangle 4">
              <a:extLst>
                <a:ext uri="{FF2B5EF4-FFF2-40B4-BE49-F238E27FC236}">
                  <a16:creationId xmlns:a16="http://schemas.microsoft.com/office/drawing/2014/main" id="{0813A568-14ED-4B73-AFFC-385D88EA087A}"/>
                </a:ext>
              </a:extLst>
            </p:cNvPr>
            <p:cNvSpPr/>
            <p:nvPr/>
          </p:nvSpPr>
          <p:spPr>
            <a:xfrm>
              <a:off x="3590520" y="2480799"/>
              <a:ext cx="2385627" cy="710681"/>
            </a:xfrm>
            <a:prstGeom prst="rect">
              <a:avLst/>
            </a:prstGeom>
            <a:noFill/>
            <a:ln>
              <a:noFill/>
            </a:ln>
            <a:effectLst/>
          </p:spPr>
          <p:txBody>
            <a:bodyPr spcFirstLastPara="0" vert="horz" wrap="square" lIns="91440" tIns="91440" rIns="91440" bIns="91440" numCol="1" spcCol="1270" anchor="ctr" anchorCtr="0">
              <a:noAutofit/>
            </a:bodyPr>
            <a:lstStyle/>
            <a:p>
              <a:pPr algn="ctr" defTabSz="1066773" fontAlgn="base">
                <a:spcBef>
                  <a:spcPct val="0"/>
                </a:spcBef>
                <a:defRPr/>
              </a:pPr>
              <a:r>
                <a:rPr lang="en-US" sz="2000" kern="0" dirty="0">
                  <a:solidFill>
                    <a:srgbClr val="FFFFFF"/>
                  </a:solidFill>
                  <a:latin typeface="Trebuchet MS" pitchFamily="34" charset="0"/>
                  <a:ea typeface="ＭＳ Ｐゴシック"/>
                </a:rPr>
                <a:t>Filter Life</a:t>
              </a:r>
            </a:p>
          </p:txBody>
        </p:sp>
      </p:grpSp>
      <p:grpSp>
        <p:nvGrpSpPr>
          <p:cNvPr id="46" name="Group 45">
            <a:extLst>
              <a:ext uri="{FF2B5EF4-FFF2-40B4-BE49-F238E27FC236}">
                <a16:creationId xmlns:a16="http://schemas.microsoft.com/office/drawing/2014/main" id="{EBE71885-0F50-47CD-818A-8E9BB752C416}"/>
              </a:ext>
            </a:extLst>
          </p:cNvPr>
          <p:cNvGrpSpPr/>
          <p:nvPr/>
        </p:nvGrpSpPr>
        <p:grpSpPr>
          <a:xfrm>
            <a:off x="317948" y="4624161"/>
            <a:ext cx="2377999" cy="754901"/>
            <a:chOff x="65118" y="2460141"/>
            <a:chExt cx="2377998" cy="754901"/>
          </a:xfrm>
        </p:grpSpPr>
        <p:sp>
          <p:nvSpPr>
            <p:cNvPr id="47" name="Rounded Rectangle 12">
              <a:extLst>
                <a:ext uri="{FF2B5EF4-FFF2-40B4-BE49-F238E27FC236}">
                  <a16:creationId xmlns:a16="http://schemas.microsoft.com/office/drawing/2014/main" id="{3D566691-FA93-4288-8983-15246FC14134}"/>
                </a:ext>
              </a:extLst>
            </p:cNvPr>
            <p:cNvSpPr/>
            <p:nvPr/>
          </p:nvSpPr>
          <p:spPr>
            <a:xfrm>
              <a:off x="65118" y="2460141"/>
              <a:ext cx="2377998" cy="754901"/>
            </a:xfrm>
            <a:prstGeom prst="roundRect">
              <a:avLst>
                <a:gd name="adj" fmla="val 10000"/>
              </a:avLst>
            </a:prstGeom>
            <a:solidFill>
              <a:srgbClr val="0071FE"/>
            </a:solidFill>
            <a:ln w="19050" cap="flat" cmpd="sng" algn="ctr">
              <a:solidFill>
                <a:srgbClr val="FFCC33"/>
              </a:solidFill>
              <a:prstDash val="solid"/>
            </a:ln>
            <a:effectLst/>
          </p:spPr>
        </p:sp>
        <p:sp>
          <p:nvSpPr>
            <p:cNvPr id="48" name="Rounded Rectangle 4">
              <a:extLst>
                <a:ext uri="{FF2B5EF4-FFF2-40B4-BE49-F238E27FC236}">
                  <a16:creationId xmlns:a16="http://schemas.microsoft.com/office/drawing/2014/main" id="{F8940CC6-4236-4B39-914C-7FF83657973A}"/>
                </a:ext>
              </a:extLst>
            </p:cNvPr>
            <p:cNvSpPr/>
            <p:nvPr/>
          </p:nvSpPr>
          <p:spPr>
            <a:xfrm>
              <a:off x="87228" y="2482251"/>
              <a:ext cx="2333778" cy="710681"/>
            </a:xfrm>
            <a:prstGeom prst="rect">
              <a:avLst/>
            </a:prstGeom>
            <a:noFill/>
            <a:ln>
              <a:noFill/>
            </a:ln>
            <a:effectLst/>
          </p:spPr>
          <p:txBody>
            <a:bodyPr spcFirstLastPara="0" vert="horz" wrap="square" lIns="91440" tIns="91440" rIns="91440" bIns="91440" numCol="1" spcCol="1270" anchor="ctr" anchorCtr="0">
              <a:noAutofit/>
            </a:bodyPr>
            <a:lstStyle/>
            <a:p>
              <a:pPr algn="ctr" defTabSz="1066773" fontAlgn="base">
                <a:spcBef>
                  <a:spcPct val="0"/>
                </a:spcBef>
                <a:defRPr/>
              </a:pPr>
              <a:r>
                <a:rPr lang="en-US" sz="2000" kern="0" dirty="0">
                  <a:solidFill>
                    <a:srgbClr val="FFFFFF"/>
                  </a:solidFill>
                  <a:latin typeface="Trebuchet MS" pitchFamily="34" charset="0"/>
                  <a:ea typeface="ＭＳ Ｐゴシック"/>
                </a:rPr>
                <a:t>Flow Rate</a:t>
              </a:r>
            </a:p>
            <a:p>
              <a:pPr algn="ctr" defTabSz="1066773" fontAlgn="base">
                <a:spcBef>
                  <a:spcPct val="0"/>
                </a:spcBef>
                <a:defRPr/>
              </a:pPr>
              <a:r>
                <a:rPr lang="en-US" sz="1400" i="1" kern="0" dirty="0">
                  <a:solidFill>
                    <a:srgbClr val="FFFFFF"/>
                  </a:solidFill>
                  <a:latin typeface="Trebuchet MS" pitchFamily="34" charset="0"/>
                  <a:ea typeface="ＭＳ Ｐゴシック"/>
                </a:rPr>
                <a:t>(Membrane Surface Area)</a:t>
              </a:r>
            </a:p>
          </p:txBody>
        </p:sp>
      </p:grpSp>
      <p:sp>
        <p:nvSpPr>
          <p:cNvPr id="49" name="Text Placeholder 3">
            <a:extLst>
              <a:ext uri="{FF2B5EF4-FFF2-40B4-BE49-F238E27FC236}">
                <a16:creationId xmlns:a16="http://schemas.microsoft.com/office/drawing/2014/main" id="{8DC9E51A-22C5-47D1-9131-42FAA2745895}"/>
              </a:ext>
            </a:extLst>
          </p:cNvPr>
          <p:cNvSpPr txBox="1">
            <a:spLocks/>
          </p:cNvSpPr>
          <p:nvPr/>
        </p:nvSpPr>
        <p:spPr>
          <a:xfrm>
            <a:off x="2822071" y="2134405"/>
            <a:ext cx="2239001"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002060"/>
                </a:solidFill>
                <a:latin typeface="Arial" charset="0"/>
                <a:ea typeface="MS PGothic"/>
              </a:rPr>
              <a:t>LEADING COMPETITOR*</a:t>
            </a:r>
          </a:p>
        </p:txBody>
      </p:sp>
      <p:cxnSp>
        <p:nvCxnSpPr>
          <p:cNvPr id="50" name="Straight Connector 49">
            <a:extLst>
              <a:ext uri="{FF2B5EF4-FFF2-40B4-BE49-F238E27FC236}">
                <a16:creationId xmlns:a16="http://schemas.microsoft.com/office/drawing/2014/main" id="{24F105F7-46F1-4679-8FEE-E88B7BC34F7E}"/>
              </a:ext>
            </a:extLst>
          </p:cNvPr>
          <p:cNvCxnSpPr/>
          <p:nvPr/>
        </p:nvCxnSpPr>
        <p:spPr>
          <a:xfrm>
            <a:off x="2926301" y="2383731"/>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05A09FF8-C505-46F7-A976-72237A6EEA0C}"/>
              </a:ext>
            </a:extLst>
          </p:cNvPr>
          <p:cNvSpPr txBox="1">
            <a:spLocks/>
          </p:cNvSpPr>
          <p:nvPr/>
        </p:nvSpPr>
        <p:spPr>
          <a:xfrm>
            <a:off x="5236950" y="2131536"/>
            <a:ext cx="1828800"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280071"/>
                </a:solidFill>
                <a:latin typeface="Arial" charset="0"/>
                <a:ea typeface="MS PGothic"/>
              </a:rPr>
              <a:t>NEPHROS</a:t>
            </a:r>
          </a:p>
        </p:txBody>
      </p:sp>
      <p:cxnSp>
        <p:nvCxnSpPr>
          <p:cNvPr id="52" name="Straight Connector 51">
            <a:extLst>
              <a:ext uri="{FF2B5EF4-FFF2-40B4-BE49-F238E27FC236}">
                <a16:creationId xmlns:a16="http://schemas.microsoft.com/office/drawing/2014/main" id="{2E03BAC6-C4E6-40AC-BA12-70D890C10787}"/>
              </a:ext>
            </a:extLst>
          </p:cNvPr>
          <p:cNvCxnSpPr/>
          <p:nvPr/>
        </p:nvCxnSpPr>
        <p:spPr>
          <a:xfrm>
            <a:off x="5140248" y="2380863"/>
            <a:ext cx="201168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E9E371D-7701-4FB7-ADFF-7658CA94B103}"/>
              </a:ext>
            </a:extLst>
          </p:cNvPr>
          <p:cNvSpPr txBox="1"/>
          <p:nvPr/>
        </p:nvSpPr>
        <p:spPr>
          <a:xfrm>
            <a:off x="2974653" y="2725633"/>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chemeClr val="tx2"/>
                </a:solidFill>
                <a:latin typeface="Arial" charset="0"/>
                <a:ea typeface="ＭＳ Ｐゴシック" pitchFamily="34" charset="-128"/>
              </a:rPr>
              <a:t>0.2 </a:t>
            </a:r>
            <a:r>
              <a:rPr lang="el-GR" sz="1600" b="1" kern="0" dirty="0">
                <a:solidFill>
                  <a:schemeClr val="tx2"/>
                </a:solidFill>
                <a:latin typeface="Arial" charset="0"/>
                <a:ea typeface="ＭＳ Ｐゴシック" pitchFamily="34" charset="-128"/>
              </a:rPr>
              <a:t>μ</a:t>
            </a:r>
            <a:r>
              <a:rPr lang="en-US" sz="1600" b="1" kern="0" dirty="0">
                <a:solidFill>
                  <a:schemeClr val="tx2"/>
                </a:solidFill>
                <a:latin typeface="Arial" charset="0"/>
                <a:ea typeface="ＭＳ Ｐゴシック" pitchFamily="34" charset="-128"/>
              </a:rPr>
              <a:t>m</a:t>
            </a:r>
            <a:endParaRPr lang="en-US" sz="1600" dirty="0">
              <a:solidFill>
                <a:schemeClr val="tx2"/>
              </a:solidFill>
            </a:endParaRPr>
          </a:p>
        </p:txBody>
      </p:sp>
      <p:sp>
        <p:nvSpPr>
          <p:cNvPr id="53" name="TextBox 52">
            <a:extLst>
              <a:ext uri="{FF2B5EF4-FFF2-40B4-BE49-F238E27FC236}">
                <a16:creationId xmlns:a16="http://schemas.microsoft.com/office/drawing/2014/main" id="{246547DB-3B8F-489C-9A55-5F49C93C391B}"/>
              </a:ext>
            </a:extLst>
          </p:cNvPr>
          <p:cNvSpPr txBox="1"/>
          <p:nvPr/>
        </p:nvSpPr>
        <p:spPr>
          <a:xfrm>
            <a:off x="5193242" y="2728568"/>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rgbClr val="000000"/>
                </a:solidFill>
                <a:latin typeface="Arial" charset="0"/>
                <a:ea typeface="ＭＳ Ｐゴシック" pitchFamily="34" charset="-128"/>
              </a:rPr>
              <a:t>0.005 </a:t>
            </a:r>
            <a:r>
              <a:rPr lang="el-GR" sz="1600" b="1" kern="0" dirty="0">
                <a:solidFill>
                  <a:srgbClr val="000000"/>
                </a:solidFill>
                <a:latin typeface="Arial" charset="0"/>
                <a:ea typeface="ＭＳ Ｐゴシック" pitchFamily="34" charset="-128"/>
              </a:rPr>
              <a:t>μ</a:t>
            </a:r>
            <a:r>
              <a:rPr lang="en-US" sz="1600" b="1" kern="0" dirty="0">
                <a:solidFill>
                  <a:srgbClr val="000000"/>
                </a:solidFill>
                <a:latin typeface="Arial" charset="0"/>
                <a:ea typeface="ＭＳ Ｐゴシック" pitchFamily="34" charset="-128"/>
              </a:rPr>
              <a:t>m</a:t>
            </a:r>
            <a:endParaRPr lang="en-US" sz="1600" dirty="0"/>
          </a:p>
        </p:txBody>
      </p:sp>
      <p:sp>
        <p:nvSpPr>
          <p:cNvPr id="55" name="Oval 54">
            <a:extLst>
              <a:ext uri="{FF2B5EF4-FFF2-40B4-BE49-F238E27FC236}">
                <a16:creationId xmlns:a16="http://schemas.microsoft.com/office/drawing/2014/main" id="{E22321A3-828B-4DEC-8FAD-CD70E9AB5DC6}"/>
              </a:ext>
            </a:extLst>
          </p:cNvPr>
          <p:cNvSpPr/>
          <p:nvPr/>
        </p:nvSpPr>
        <p:spPr>
          <a:xfrm>
            <a:off x="7772400" y="2530672"/>
            <a:ext cx="1204916" cy="630942"/>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b="1" dirty="0">
                <a:solidFill>
                  <a:schemeClr val="tx1"/>
                </a:solidFill>
                <a:latin typeface="Arial" panose="020B0604020202020204" pitchFamily="34" charset="0"/>
                <a:cs typeface="Arial" panose="020B0604020202020204" pitchFamily="34" charset="0"/>
              </a:rPr>
              <a:t>40x Smaller Pore Size</a:t>
            </a:r>
          </a:p>
        </p:txBody>
      </p:sp>
      <p:sp>
        <p:nvSpPr>
          <p:cNvPr id="57" name="TextBox 56">
            <a:extLst>
              <a:ext uri="{FF2B5EF4-FFF2-40B4-BE49-F238E27FC236}">
                <a16:creationId xmlns:a16="http://schemas.microsoft.com/office/drawing/2014/main" id="{5AF9BE26-D56F-4AFB-B281-1F293CD1B7FE}"/>
              </a:ext>
            </a:extLst>
          </p:cNvPr>
          <p:cNvSpPr txBox="1"/>
          <p:nvPr/>
        </p:nvSpPr>
        <p:spPr>
          <a:xfrm>
            <a:off x="2977585" y="3748469"/>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chemeClr val="tx2"/>
                </a:solidFill>
                <a:latin typeface="Arial" charset="0"/>
                <a:ea typeface="ＭＳ Ｐゴシック" pitchFamily="34" charset="-128"/>
              </a:rPr>
              <a:t>31-62 days</a:t>
            </a:r>
            <a:endParaRPr lang="en-US" sz="1600" dirty="0">
              <a:solidFill>
                <a:schemeClr val="tx2"/>
              </a:solidFill>
            </a:endParaRPr>
          </a:p>
        </p:txBody>
      </p:sp>
      <p:sp>
        <p:nvSpPr>
          <p:cNvPr id="58" name="TextBox 57">
            <a:extLst>
              <a:ext uri="{FF2B5EF4-FFF2-40B4-BE49-F238E27FC236}">
                <a16:creationId xmlns:a16="http://schemas.microsoft.com/office/drawing/2014/main" id="{4E1BB922-FE7F-4E45-8F77-9FBF58CD8B4E}"/>
              </a:ext>
            </a:extLst>
          </p:cNvPr>
          <p:cNvSpPr txBox="1"/>
          <p:nvPr/>
        </p:nvSpPr>
        <p:spPr>
          <a:xfrm>
            <a:off x="5196174" y="3751404"/>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rgbClr val="000000"/>
                </a:solidFill>
                <a:latin typeface="Arial" charset="0"/>
                <a:ea typeface="ＭＳ Ｐゴシック" pitchFamily="34" charset="-128"/>
              </a:rPr>
              <a:t>90 – 360 days</a:t>
            </a:r>
            <a:endParaRPr lang="en-US" sz="1600" dirty="0"/>
          </a:p>
        </p:txBody>
      </p:sp>
      <p:sp>
        <p:nvSpPr>
          <p:cNvPr id="59" name="Oval 58">
            <a:extLst>
              <a:ext uri="{FF2B5EF4-FFF2-40B4-BE49-F238E27FC236}">
                <a16:creationId xmlns:a16="http://schemas.microsoft.com/office/drawing/2014/main" id="{CC0E7EE3-3AED-4188-9CB8-07C6A427E4C1}"/>
              </a:ext>
            </a:extLst>
          </p:cNvPr>
          <p:cNvSpPr/>
          <p:nvPr/>
        </p:nvSpPr>
        <p:spPr>
          <a:xfrm>
            <a:off x="7775332" y="3553508"/>
            <a:ext cx="1204916" cy="630942"/>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tx1"/>
                </a:solidFill>
                <a:latin typeface="Arial" panose="020B0604020202020204" pitchFamily="34" charset="0"/>
                <a:cs typeface="Arial" panose="020B0604020202020204" pitchFamily="34" charset="0"/>
              </a:rPr>
              <a:t>2 – 3x competitor</a:t>
            </a:r>
          </a:p>
        </p:txBody>
      </p:sp>
      <p:sp>
        <p:nvSpPr>
          <p:cNvPr id="62" name="TextBox 61">
            <a:extLst>
              <a:ext uri="{FF2B5EF4-FFF2-40B4-BE49-F238E27FC236}">
                <a16:creationId xmlns:a16="http://schemas.microsoft.com/office/drawing/2014/main" id="{870F42DA-235A-4B88-AD0B-07AA52093B72}"/>
              </a:ext>
            </a:extLst>
          </p:cNvPr>
          <p:cNvSpPr txBox="1"/>
          <p:nvPr/>
        </p:nvSpPr>
        <p:spPr>
          <a:xfrm>
            <a:off x="2980519" y="4781098"/>
            <a:ext cx="1914975" cy="21544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endParaRPr lang="en-US" sz="1400" b="1" kern="0" dirty="0">
              <a:solidFill>
                <a:srgbClr val="000000"/>
              </a:solidFill>
              <a:latin typeface="Arial" charset="0"/>
              <a:ea typeface="ＭＳ Ｐゴシック" pitchFamily="34" charset="-128"/>
            </a:endParaRPr>
          </a:p>
        </p:txBody>
      </p:sp>
      <p:sp>
        <p:nvSpPr>
          <p:cNvPr id="63" name="TextBox 62">
            <a:extLst>
              <a:ext uri="{FF2B5EF4-FFF2-40B4-BE49-F238E27FC236}">
                <a16:creationId xmlns:a16="http://schemas.microsoft.com/office/drawing/2014/main" id="{863B13CC-AE77-4A15-9290-BF4523567DBC}"/>
              </a:ext>
            </a:extLst>
          </p:cNvPr>
          <p:cNvSpPr txBox="1"/>
          <p:nvPr/>
        </p:nvSpPr>
        <p:spPr>
          <a:xfrm>
            <a:off x="5200522" y="4879164"/>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rgbClr val="000000"/>
                </a:solidFill>
                <a:latin typeface="Arial" charset="0"/>
                <a:ea typeface="ＭＳ Ｐゴシック" pitchFamily="34" charset="-128"/>
              </a:rPr>
              <a:t>0.3-2.8 m2 </a:t>
            </a:r>
            <a:endParaRPr lang="en-US" sz="1600" dirty="0"/>
          </a:p>
        </p:txBody>
      </p:sp>
      <p:sp>
        <p:nvSpPr>
          <p:cNvPr id="37" name="TextBox 36">
            <a:extLst>
              <a:ext uri="{FF2B5EF4-FFF2-40B4-BE49-F238E27FC236}">
                <a16:creationId xmlns:a16="http://schemas.microsoft.com/office/drawing/2014/main" id="{0E6DEF18-130A-46D2-9DC7-D524346174D6}"/>
              </a:ext>
            </a:extLst>
          </p:cNvPr>
          <p:cNvSpPr txBox="1"/>
          <p:nvPr/>
        </p:nvSpPr>
        <p:spPr>
          <a:xfrm>
            <a:off x="2974652" y="4879164"/>
            <a:ext cx="1914975"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r>
              <a:rPr lang="en-US" sz="1600" b="1" kern="0" dirty="0">
                <a:solidFill>
                  <a:srgbClr val="000000"/>
                </a:solidFill>
                <a:latin typeface="Arial" charset="0"/>
                <a:ea typeface="ＭＳ Ｐゴシック" pitchFamily="34" charset="-128"/>
              </a:rPr>
              <a:t>0.06-0.1 m2 </a:t>
            </a:r>
            <a:endParaRPr lang="en-US" sz="1600" dirty="0"/>
          </a:p>
        </p:txBody>
      </p:sp>
      <p:sp>
        <p:nvSpPr>
          <p:cNvPr id="38" name="TextBox 37">
            <a:extLst>
              <a:ext uri="{FF2B5EF4-FFF2-40B4-BE49-F238E27FC236}">
                <a16:creationId xmlns:a16="http://schemas.microsoft.com/office/drawing/2014/main" id="{CDF04236-6FC6-4215-927A-3C01F0C576D3}"/>
              </a:ext>
            </a:extLst>
          </p:cNvPr>
          <p:cNvSpPr txBox="1"/>
          <p:nvPr/>
        </p:nvSpPr>
        <p:spPr>
          <a:xfrm>
            <a:off x="317948" y="6382603"/>
            <a:ext cx="1914975" cy="1538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000" i="1" kern="0" dirty="0">
                <a:latin typeface="Arial" charset="0"/>
                <a:ea typeface="ＭＳ Ｐゴシック" pitchFamily="34" charset="-128"/>
              </a:rPr>
              <a:t>* versus Pall </a:t>
            </a:r>
            <a:r>
              <a:rPr lang="en-US" sz="1000" i="1" kern="0" dirty="0" err="1">
                <a:latin typeface="Arial" charset="0"/>
                <a:ea typeface="ＭＳ Ｐゴシック" pitchFamily="34" charset="-128"/>
              </a:rPr>
              <a:t>AquaSafe</a:t>
            </a:r>
            <a:endParaRPr lang="en-US" sz="1000" i="1" dirty="0"/>
          </a:p>
        </p:txBody>
      </p:sp>
    </p:spTree>
    <p:extLst>
      <p:ext uri="{BB962C8B-B14F-4D97-AF65-F5344CB8AC3E}">
        <p14:creationId xmlns:p14="http://schemas.microsoft.com/office/powerpoint/2010/main" val="3077621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A75E7E8-9542-B54A-8463-8984A9889AB4}"/>
              </a:ext>
            </a:extLst>
          </p:cNvPr>
          <p:cNvSpPr>
            <a:spLocks noGrp="1"/>
          </p:cNvSpPr>
          <p:nvPr>
            <p:ph type="title"/>
          </p:nvPr>
        </p:nvSpPr>
        <p:spPr/>
        <p:txBody>
          <a:bodyPr/>
          <a:lstStyle/>
          <a:p>
            <a:r>
              <a:rPr lang="en-US" dirty="0"/>
              <a:t>Hospital Filtration Growth Drivers</a:t>
            </a:r>
          </a:p>
        </p:txBody>
      </p:sp>
      <p:sp>
        <p:nvSpPr>
          <p:cNvPr id="3" name="Slide Number Placeholder 2">
            <a:extLst>
              <a:ext uri="{FF2B5EF4-FFF2-40B4-BE49-F238E27FC236}">
                <a16:creationId xmlns:a16="http://schemas.microsoft.com/office/drawing/2014/main" id="{FFB379CC-E41A-2E40-B62B-96E637E1499C}"/>
              </a:ext>
            </a:extLst>
          </p:cNvPr>
          <p:cNvSpPr>
            <a:spLocks noGrp="1"/>
          </p:cNvSpPr>
          <p:nvPr>
            <p:ph type="sldNum" sz="quarter" idx="12"/>
          </p:nvPr>
        </p:nvSpPr>
        <p:spPr/>
        <p:txBody>
          <a:bodyPr/>
          <a:lstStyle/>
          <a:p>
            <a:fld id="{1703025F-5038-48A2-8F2E-D28A39FB9727}" type="slidenum">
              <a:rPr lang="en-US" smtClean="0"/>
              <a:pPr/>
              <a:t>14</a:t>
            </a:fld>
            <a:endParaRPr lang="en-US" dirty="0"/>
          </a:p>
        </p:txBody>
      </p:sp>
      <p:graphicFrame>
        <p:nvGraphicFramePr>
          <p:cNvPr id="2" name="Diagram 1">
            <a:extLst>
              <a:ext uri="{FF2B5EF4-FFF2-40B4-BE49-F238E27FC236}">
                <a16:creationId xmlns:a16="http://schemas.microsoft.com/office/drawing/2014/main" id="{4E152BA8-B540-E24B-85B1-AC815EC812D3}"/>
              </a:ext>
            </a:extLst>
          </p:cNvPr>
          <p:cNvGraphicFramePr/>
          <p:nvPr>
            <p:extLst>
              <p:ext uri="{D42A27DB-BD31-4B8C-83A1-F6EECF244321}">
                <p14:modId xmlns:p14="http://schemas.microsoft.com/office/powerpoint/2010/main" val="2696493563"/>
              </p:ext>
            </p:extLst>
          </p:nvPr>
        </p:nvGraphicFramePr>
        <p:xfrm>
          <a:off x="797674" y="1299990"/>
          <a:ext cx="7409892" cy="50016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a:extLst>
              <a:ext uri="{FF2B5EF4-FFF2-40B4-BE49-F238E27FC236}">
                <a16:creationId xmlns:a16="http://schemas.microsoft.com/office/drawing/2014/main" id="{DC5A3870-9B9B-4B4E-A02A-0925054D0FCD}"/>
              </a:ext>
            </a:extLst>
          </p:cNvPr>
          <p:cNvGraphicFramePr/>
          <p:nvPr>
            <p:extLst>
              <p:ext uri="{D42A27DB-BD31-4B8C-83A1-F6EECF244321}">
                <p14:modId xmlns:p14="http://schemas.microsoft.com/office/powerpoint/2010/main" val="150137004"/>
              </p:ext>
            </p:extLst>
          </p:nvPr>
        </p:nvGraphicFramePr>
        <p:xfrm>
          <a:off x="797674" y="5664903"/>
          <a:ext cx="7409892" cy="4647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60899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76315" y="3429000"/>
            <a:ext cx="3067685" cy="3074035"/>
          </a:xfrm>
          <a:custGeom>
            <a:avLst/>
            <a:gdLst/>
            <a:ahLst/>
            <a:cxnLst/>
            <a:rect l="l" t="t" r="r" b="b"/>
            <a:pathLst>
              <a:path w="6135369" h="6148070">
                <a:moveTo>
                  <a:pt x="6135199" y="0"/>
                </a:moveTo>
                <a:lnTo>
                  <a:pt x="6135199" y="6147495"/>
                </a:lnTo>
                <a:lnTo>
                  <a:pt x="0" y="6147495"/>
                </a:lnTo>
                <a:lnTo>
                  <a:pt x="6135199" y="0"/>
                </a:lnTo>
                <a:close/>
              </a:path>
            </a:pathLst>
          </a:custGeom>
          <a:solidFill>
            <a:srgbClr val="3C46D5"/>
          </a:solidFill>
        </p:spPr>
        <p:txBody>
          <a:bodyPr wrap="square" lIns="0" tIns="0" rIns="0" bIns="0" rtlCol="0"/>
          <a:lstStyle/>
          <a:p>
            <a:endParaRPr sz="900"/>
          </a:p>
        </p:txBody>
      </p:sp>
      <p:sp>
        <p:nvSpPr>
          <p:cNvPr id="3" name="object 3"/>
          <p:cNvSpPr/>
          <p:nvPr/>
        </p:nvSpPr>
        <p:spPr>
          <a:xfrm>
            <a:off x="8133715" y="4752975"/>
            <a:ext cx="1010285" cy="1750060"/>
          </a:xfrm>
          <a:custGeom>
            <a:avLst/>
            <a:gdLst/>
            <a:ahLst/>
            <a:cxnLst/>
            <a:rect l="l" t="t" r="r" b="b"/>
            <a:pathLst>
              <a:path w="2020569" h="3500120">
                <a:moveTo>
                  <a:pt x="0" y="0"/>
                </a:moveTo>
                <a:lnTo>
                  <a:pt x="2020523" y="0"/>
                </a:lnTo>
                <a:lnTo>
                  <a:pt x="2020523" y="3499546"/>
                </a:lnTo>
                <a:lnTo>
                  <a:pt x="0" y="0"/>
                </a:lnTo>
                <a:close/>
              </a:path>
            </a:pathLst>
          </a:custGeom>
          <a:solidFill>
            <a:srgbClr val="000000"/>
          </a:solidFill>
        </p:spPr>
        <p:txBody>
          <a:bodyPr wrap="square" lIns="0" tIns="0" rIns="0" bIns="0" rtlCol="0"/>
          <a:lstStyle/>
          <a:p>
            <a:endParaRPr sz="900"/>
          </a:p>
        </p:txBody>
      </p:sp>
      <p:sp>
        <p:nvSpPr>
          <p:cNvPr id="4" name="object 4"/>
          <p:cNvSpPr/>
          <p:nvPr/>
        </p:nvSpPr>
        <p:spPr>
          <a:xfrm>
            <a:off x="0" y="2174694"/>
            <a:ext cx="4572000" cy="0"/>
          </a:xfrm>
          <a:custGeom>
            <a:avLst/>
            <a:gdLst/>
            <a:ahLst/>
            <a:cxnLst/>
            <a:rect l="l" t="t" r="r" b="b"/>
            <a:pathLst>
              <a:path w="9144000">
                <a:moveTo>
                  <a:pt x="0" y="0"/>
                </a:moveTo>
                <a:lnTo>
                  <a:pt x="9143999" y="0"/>
                </a:lnTo>
              </a:path>
            </a:pathLst>
          </a:custGeom>
          <a:ln w="57149">
            <a:solidFill>
              <a:srgbClr val="000000"/>
            </a:solidFill>
          </a:ln>
        </p:spPr>
        <p:txBody>
          <a:bodyPr wrap="square" lIns="0" tIns="0" rIns="0" bIns="0" rtlCol="0"/>
          <a:lstStyle/>
          <a:p>
            <a:endParaRPr sz="900"/>
          </a:p>
        </p:txBody>
      </p:sp>
      <p:sp>
        <p:nvSpPr>
          <p:cNvPr id="5" name="object 5"/>
          <p:cNvSpPr/>
          <p:nvPr/>
        </p:nvSpPr>
        <p:spPr>
          <a:xfrm>
            <a:off x="668622" y="1333740"/>
            <a:ext cx="2533650" cy="609600"/>
          </a:xfrm>
          <a:prstGeom prst="rect">
            <a:avLst/>
          </a:prstGeom>
          <a:blipFill>
            <a:blip r:embed="rId2" cstate="print"/>
            <a:stretch>
              <a:fillRect/>
            </a:stretch>
          </a:blipFill>
        </p:spPr>
        <p:txBody>
          <a:bodyPr wrap="square" lIns="0" tIns="0" rIns="0" bIns="0" rtlCol="0"/>
          <a:lstStyle/>
          <a:p>
            <a:endParaRPr sz="900"/>
          </a:p>
        </p:txBody>
      </p:sp>
      <p:sp>
        <p:nvSpPr>
          <p:cNvPr id="9" name="Title 8">
            <a:extLst>
              <a:ext uri="{FF2B5EF4-FFF2-40B4-BE49-F238E27FC236}">
                <a16:creationId xmlns:a16="http://schemas.microsoft.com/office/drawing/2014/main" id="{82094916-B593-884E-9EB9-C48C57A57C47}"/>
              </a:ext>
            </a:extLst>
          </p:cNvPr>
          <p:cNvSpPr>
            <a:spLocks noGrp="1"/>
          </p:cNvSpPr>
          <p:nvPr>
            <p:ph type="title"/>
          </p:nvPr>
        </p:nvSpPr>
        <p:spPr/>
        <p:txBody>
          <a:bodyPr/>
          <a:lstStyle/>
          <a:p>
            <a:r>
              <a:rPr lang="en-US" dirty="0"/>
              <a:t>Introduction to Aether</a:t>
            </a:r>
          </a:p>
        </p:txBody>
      </p:sp>
      <p:grpSp>
        <p:nvGrpSpPr>
          <p:cNvPr id="23" name="Group 22">
            <a:extLst>
              <a:ext uri="{FF2B5EF4-FFF2-40B4-BE49-F238E27FC236}">
                <a16:creationId xmlns:a16="http://schemas.microsoft.com/office/drawing/2014/main" id="{CE12060A-B2AB-4589-B374-C1D82392689B}"/>
              </a:ext>
            </a:extLst>
          </p:cNvPr>
          <p:cNvGrpSpPr/>
          <p:nvPr/>
        </p:nvGrpSpPr>
        <p:grpSpPr>
          <a:xfrm>
            <a:off x="5625792" y="2553570"/>
            <a:ext cx="3138442" cy="3228371"/>
            <a:chOff x="204597" y="2700417"/>
            <a:chExt cx="3138442" cy="3228371"/>
          </a:xfrm>
        </p:grpSpPr>
        <p:pic>
          <p:nvPicPr>
            <p:cNvPr id="12" name="Picture 6" descr="Picture 6">
              <a:extLst>
                <a:ext uri="{FF2B5EF4-FFF2-40B4-BE49-F238E27FC236}">
                  <a16:creationId xmlns:a16="http://schemas.microsoft.com/office/drawing/2014/main" id="{89D7E392-9E6F-4B04-B1E5-3D6B909D1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4597" y="2748249"/>
              <a:ext cx="1158411" cy="3132707"/>
            </a:xfrm>
            <a:prstGeom prst="rect">
              <a:avLst/>
            </a:prstGeom>
            <a:ln w="12700">
              <a:miter lim="400000"/>
            </a:ln>
          </p:spPr>
        </p:pic>
        <p:pic>
          <p:nvPicPr>
            <p:cNvPr id="13" name="Picture 7" descr="Picture 7">
              <a:extLst>
                <a:ext uri="{FF2B5EF4-FFF2-40B4-BE49-F238E27FC236}">
                  <a16:creationId xmlns:a16="http://schemas.microsoft.com/office/drawing/2014/main" id="{CCF63FBF-468F-4A88-80DC-8D28F6130A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18518" y="2748249"/>
              <a:ext cx="1124521" cy="3132705"/>
            </a:xfrm>
            <a:prstGeom prst="rect">
              <a:avLst/>
            </a:prstGeom>
            <a:ln w="12700">
              <a:miter lim="400000"/>
            </a:ln>
          </p:spPr>
        </p:pic>
        <p:pic>
          <p:nvPicPr>
            <p:cNvPr id="14" name="Picture 9" descr="Picture 9">
              <a:extLst>
                <a:ext uri="{FF2B5EF4-FFF2-40B4-BE49-F238E27FC236}">
                  <a16:creationId xmlns:a16="http://schemas.microsoft.com/office/drawing/2014/main" id="{508E5054-E84E-4AC2-8015-1F358F0B341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0114" y="2700417"/>
              <a:ext cx="1690665" cy="3228371"/>
            </a:xfrm>
            <a:prstGeom prst="rect">
              <a:avLst/>
            </a:prstGeom>
            <a:ln w="12700">
              <a:miter lim="400000"/>
            </a:ln>
          </p:spPr>
        </p:pic>
      </p:grpSp>
      <p:pic>
        <p:nvPicPr>
          <p:cNvPr id="19" name="Picture 18">
            <a:extLst>
              <a:ext uri="{FF2B5EF4-FFF2-40B4-BE49-F238E27FC236}">
                <a16:creationId xmlns:a16="http://schemas.microsoft.com/office/drawing/2014/main" id="{8C3FBD2B-3571-41DB-AD90-A1038BA8C9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681" y="2657189"/>
            <a:ext cx="1893575" cy="1297855"/>
          </a:xfrm>
          <a:prstGeom prst="rect">
            <a:avLst/>
          </a:prstGeom>
        </p:spPr>
      </p:pic>
      <p:pic>
        <p:nvPicPr>
          <p:cNvPr id="20" name="Picture 19">
            <a:extLst>
              <a:ext uri="{FF2B5EF4-FFF2-40B4-BE49-F238E27FC236}">
                <a16:creationId xmlns:a16="http://schemas.microsoft.com/office/drawing/2014/main" id="{41D0CCBF-ADBA-4CE3-B246-BE5B327D95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75412" y="2657189"/>
            <a:ext cx="1893571" cy="1297855"/>
          </a:xfrm>
          <a:prstGeom prst="rect">
            <a:avLst/>
          </a:prstGeom>
        </p:spPr>
      </p:pic>
      <p:pic>
        <p:nvPicPr>
          <p:cNvPr id="21" name="Picture 20">
            <a:extLst>
              <a:ext uri="{FF2B5EF4-FFF2-40B4-BE49-F238E27FC236}">
                <a16:creationId xmlns:a16="http://schemas.microsoft.com/office/drawing/2014/main" id="{07027439-13AF-4F44-9960-C670DEA1EBA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75412" y="4251392"/>
            <a:ext cx="1893572" cy="1297855"/>
          </a:xfrm>
          <a:prstGeom prst="rect">
            <a:avLst/>
          </a:prstGeom>
        </p:spPr>
      </p:pic>
      <p:pic>
        <p:nvPicPr>
          <p:cNvPr id="22" name="Picture 21">
            <a:extLst>
              <a:ext uri="{FF2B5EF4-FFF2-40B4-BE49-F238E27FC236}">
                <a16:creationId xmlns:a16="http://schemas.microsoft.com/office/drawing/2014/main" id="{73037E7C-0913-4521-9050-B7BCC5CC6AE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5680" y="4251392"/>
            <a:ext cx="1893571" cy="1297855"/>
          </a:xfrm>
          <a:prstGeom prst="rect">
            <a:avLst/>
          </a:prstGeom>
        </p:spPr>
      </p:pic>
      <p:sp>
        <p:nvSpPr>
          <p:cNvPr id="24" name="TextBox 23">
            <a:extLst>
              <a:ext uri="{FF2B5EF4-FFF2-40B4-BE49-F238E27FC236}">
                <a16:creationId xmlns:a16="http://schemas.microsoft.com/office/drawing/2014/main" id="{AF458575-AF72-439E-937D-4DEA1A674394}"/>
              </a:ext>
            </a:extLst>
          </p:cNvPr>
          <p:cNvSpPr txBox="1"/>
          <p:nvPr/>
        </p:nvSpPr>
        <p:spPr>
          <a:xfrm>
            <a:off x="3452723" y="3933941"/>
            <a:ext cx="737318" cy="338554"/>
          </a:xfrm>
          <a:prstGeom prst="rect">
            <a:avLst/>
          </a:prstGeom>
          <a:noFill/>
        </p:spPr>
        <p:txBody>
          <a:bodyPr wrap="none" rtlCol="0">
            <a:spAutoFit/>
          </a:bodyPr>
          <a:lstStyle/>
          <a:p>
            <a:r>
              <a:rPr lang="en-US" sz="1600" b="1" dirty="0">
                <a:solidFill>
                  <a:schemeClr val="accent1"/>
                </a:solidFill>
              </a:rPr>
              <a:t>Coffee</a:t>
            </a:r>
          </a:p>
        </p:txBody>
      </p:sp>
      <p:sp>
        <p:nvSpPr>
          <p:cNvPr id="25" name="TextBox 24">
            <a:extLst>
              <a:ext uri="{FF2B5EF4-FFF2-40B4-BE49-F238E27FC236}">
                <a16:creationId xmlns:a16="http://schemas.microsoft.com/office/drawing/2014/main" id="{89944088-BC3A-4A07-BD7F-248FCEFD0A7B}"/>
              </a:ext>
            </a:extLst>
          </p:cNvPr>
          <p:cNvSpPr txBox="1"/>
          <p:nvPr/>
        </p:nvSpPr>
        <p:spPr>
          <a:xfrm>
            <a:off x="780654" y="3933941"/>
            <a:ext cx="1463621" cy="338554"/>
          </a:xfrm>
          <a:prstGeom prst="rect">
            <a:avLst/>
          </a:prstGeom>
          <a:noFill/>
        </p:spPr>
        <p:txBody>
          <a:bodyPr wrap="square" rtlCol="0">
            <a:spAutoFit/>
          </a:bodyPr>
          <a:lstStyle/>
          <a:p>
            <a:r>
              <a:rPr lang="en-US" sz="1600" b="1" dirty="0">
                <a:solidFill>
                  <a:schemeClr val="accent1"/>
                </a:solidFill>
              </a:rPr>
              <a:t>Fountain Soda</a:t>
            </a:r>
          </a:p>
        </p:txBody>
      </p:sp>
      <p:sp>
        <p:nvSpPr>
          <p:cNvPr id="26" name="TextBox 25">
            <a:extLst>
              <a:ext uri="{FF2B5EF4-FFF2-40B4-BE49-F238E27FC236}">
                <a16:creationId xmlns:a16="http://schemas.microsoft.com/office/drawing/2014/main" id="{06CDD5B4-AC28-428B-9AB6-12E3E11D810C}"/>
              </a:ext>
            </a:extLst>
          </p:cNvPr>
          <p:cNvSpPr txBox="1"/>
          <p:nvPr/>
        </p:nvSpPr>
        <p:spPr>
          <a:xfrm>
            <a:off x="3607221" y="5524260"/>
            <a:ext cx="428322" cy="338554"/>
          </a:xfrm>
          <a:prstGeom prst="rect">
            <a:avLst/>
          </a:prstGeom>
          <a:noFill/>
        </p:spPr>
        <p:txBody>
          <a:bodyPr wrap="none" rtlCol="0">
            <a:spAutoFit/>
          </a:bodyPr>
          <a:lstStyle/>
          <a:p>
            <a:r>
              <a:rPr lang="en-US" sz="1600" b="1" dirty="0">
                <a:solidFill>
                  <a:schemeClr val="accent1"/>
                </a:solidFill>
              </a:rPr>
              <a:t>Ice</a:t>
            </a:r>
          </a:p>
        </p:txBody>
      </p:sp>
      <p:sp>
        <p:nvSpPr>
          <p:cNvPr id="27" name="TextBox 26">
            <a:extLst>
              <a:ext uri="{FF2B5EF4-FFF2-40B4-BE49-F238E27FC236}">
                <a16:creationId xmlns:a16="http://schemas.microsoft.com/office/drawing/2014/main" id="{C9108ACB-5DFD-4DED-96E5-B7265FFF2512}"/>
              </a:ext>
            </a:extLst>
          </p:cNvPr>
          <p:cNvSpPr txBox="1"/>
          <p:nvPr/>
        </p:nvSpPr>
        <p:spPr>
          <a:xfrm>
            <a:off x="1276727" y="5524260"/>
            <a:ext cx="471476" cy="338554"/>
          </a:xfrm>
          <a:prstGeom prst="rect">
            <a:avLst/>
          </a:prstGeom>
          <a:noFill/>
        </p:spPr>
        <p:txBody>
          <a:bodyPr wrap="none" rtlCol="0">
            <a:spAutoFit/>
          </a:bodyPr>
          <a:lstStyle/>
          <a:p>
            <a:r>
              <a:rPr lang="en-US" sz="1600" b="1" dirty="0">
                <a:solidFill>
                  <a:schemeClr val="accent1"/>
                </a:solidFill>
              </a:rPr>
              <a:t>Tea</a:t>
            </a:r>
          </a:p>
        </p:txBody>
      </p:sp>
    </p:spTree>
    <p:extLst>
      <p:ext uri="{BB962C8B-B14F-4D97-AF65-F5344CB8AC3E}">
        <p14:creationId xmlns:p14="http://schemas.microsoft.com/office/powerpoint/2010/main" val="406701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857251"/>
            <a:ext cx="2858449" cy="5143499"/>
          </a:xfrm>
          <a:prstGeom prst="rect">
            <a:avLst/>
          </a:prstGeom>
          <a:blipFill>
            <a:blip r:embed="rId2" cstate="print"/>
            <a:stretch>
              <a:fillRect/>
            </a:stretch>
          </a:blipFill>
        </p:spPr>
        <p:txBody>
          <a:bodyPr wrap="square" lIns="0" tIns="0" rIns="0" bIns="0" rtlCol="0"/>
          <a:lstStyle/>
          <a:p>
            <a:endParaRPr sz="900"/>
          </a:p>
        </p:txBody>
      </p:sp>
      <p:sp>
        <p:nvSpPr>
          <p:cNvPr id="3" name="object 3"/>
          <p:cNvSpPr/>
          <p:nvPr/>
        </p:nvSpPr>
        <p:spPr>
          <a:xfrm>
            <a:off x="1094" y="857272"/>
            <a:ext cx="2858135" cy="2863850"/>
          </a:xfrm>
          <a:custGeom>
            <a:avLst/>
            <a:gdLst/>
            <a:ahLst/>
            <a:cxnLst/>
            <a:rect l="l" t="t" r="r" b="b"/>
            <a:pathLst>
              <a:path w="5716270" h="5727700">
                <a:moveTo>
                  <a:pt x="0" y="5727646"/>
                </a:moveTo>
                <a:lnTo>
                  <a:pt x="0" y="0"/>
                </a:lnTo>
                <a:lnTo>
                  <a:pt x="5716191" y="0"/>
                </a:lnTo>
                <a:lnTo>
                  <a:pt x="0" y="5727646"/>
                </a:lnTo>
                <a:close/>
              </a:path>
            </a:pathLst>
          </a:custGeom>
          <a:solidFill>
            <a:srgbClr val="3C46D5"/>
          </a:solidFill>
        </p:spPr>
        <p:txBody>
          <a:bodyPr wrap="square" lIns="0" tIns="0" rIns="0" bIns="0" rtlCol="0"/>
          <a:lstStyle/>
          <a:p>
            <a:endParaRPr sz="900"/>
          </a:p>
        </p:txBody>
      </p:sp>
      <p:sp>
        <p:nvSpPr>
          <p:cNvPr id="4" name="object 4"/>
          <p:cNvSpPr/>
          <p:nvPr/>
        </p:nvSpPr>
        <p:spPr>
          <a:xfrm>
            <a:off x="0" y="1213578"/>
            <a:ext cx="909955" cy="1576070"/>
          </a:xfrm>
          <a:custGeom>
            <a:avLst/>
            <a:gdLst/>
            <a:ahLst/>
            <a:cxnLst/>
            <a:rect l="l" t="t" r="r" b="b"/>
            <a:pathLst>
              <a:path w="1819910" h="3152140">
                <a:moveTo>
                  <a:pt x="1819611" y="3151566"/>
                </a:moveTo>
                <a:lnTo>
                  <a:pt x="0" y="3151566"/>
                </a:lnTo>
                <a:lnTo>
                  <a:pt x="0" y="0"/>
                </a:lnTo>
                <a:lnTo>
                  <a:pt x="1819611" y="3151566"/>
                </a:lnTo>
                <a:close/>
              </a:path>
            </a:pathLst>
          </a:custGeom>
          <a:solidFill>
            <a:srgbClr val="000000"/>
          </a:solidFill>
        </p:spPr>
        <p:txBody>
          <a:bodyPr wrap="square" lIns="0" tIns="0" rIns="0" bIns="0" rtlCol="0"/>
          <a:lstStyle/>
          <a:p>
            <a:endParaRPr sz="900"/>
          </a:p>
        </p:txBody>
      </p:sp>
      <p:sp>
        <p:nvSpPr>
          <p:cNvPr id="15" name="object 15"/>
          <p:cNvSpPr/>
          <p:nvPr/>
        </p:nvSpPr>
        <p:spPr>
          <a:xfrm>
            <a:off x="6391517" y="5182312"/>
            <a:ext cx="2533650" cy="609600"/>
          </a:xfrm>
          <a:prstGeom prst="rect">
            <a:avLst/>
          </a:prstGeom>
          <a:blipFill>
            <a:blip r:embed="rId3" cstate="print"/>
            <a:stretch>
              <a:fillRect/>
            </a:stretch>
          </a:blipFill>
        </p:spPr>
        <p:txBody>
          <a:bodyPr wrap="square" lIns="0" tIns="0" rIns="0" bIns="0" rtlCol="0"/>
          <a:lstStyle/>
          <a:p>
            <a:endParaRPr sz="900"/>
          </a:p>
        </p:txBody>
      </p:sp>
      <p:sp>
        <p:nvSpPr>
          <p:cNvPr id="18" name="Rectangle 17">
            <a:extLst>
              <a:ext uri="{FF2B5EF4-FFF2-40B4-BE49-F238E27FC236}">
                <a16:creationId xmlns:a16="http://schemas.microsoft.com/office/drawing/2014/main" id="{8B23D34F-143A-4041-B052-0A57E413CE7E}"/>
              </a:ext>
            </a:extLst>
          </p:cNvPr>
          <p:cNvSpPr/>
          <p:nvPr/>
        </p:nvSpPr>
        <p:spPr>
          <a:xfrm>
            <a:off x="3086341" y="1821594"/>
            <a:ext cx="5838825" cy="3693319"/>
          </a:xfrm>
          <a:prstGeom prst="rect">
            <a:avLst/>
          </a:prstGeom>
        </p:spPr>
        <p:txBody>
          <a:bodyPr wrap="square">
            <a:spAutoFit/>
          </a:bodyPr>
          <a:lstStyle/>
          <a:p>
            <a:pPr marL="285750" indent="-285750">
              <a:buFont typeface="Arial" panose="020B0604020202020204" pitchFamily="34" charset="0"/>
              <a:buChar char="•"/>
            </a:pPr>
            <a:r>
              <a:rPr lang="en-US" b="1" dirty="0"/>
              <a:t>Filters fit multiple common manifolds for plug-and-play replacement</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Reduce Chlorine/Chloramines  Flow Rate 2 - 15 GPM</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Scale Inhibitor - No Polyphosphates  </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Certified E.coli (6-log) Control</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NSF/ANSI 42, 43 and 61 Certified Component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Made in the USA</a:t>
            </a:r>
          </a:p>
          <a:p>
            <a:pPr marL="285750" indent="-285750">
              <a:buFont typeface="Arial" panose="020B0604020202020204" pitchFamily="34" charset="0"/>
              <a:buChar char="•"/>
            </a:pPr>
            <a:endParaRPr lang="en-US" b="1" dirty="0"/>
          </a:p>
        </p:txBody>
      </p:sp>
      <p:sp>
        <p:nvSpPr>
          <p:cNvPr id="21" name="Title 20">
            <a:extLst>
              <a:ext uri="{FF2B5EF4-FFF2-40B4-BE49-F238E27FC236}">
                <a16:creationId xmlns:a16="http://schemas.microsoft.com/office/drawing/2014/main" id="{E80C692A-ECE9-074D-9423-F1FAD00D46E1}"/>
              </a:ext>
            </a:extLst>
          </p:cNvPr>
          <p:cNvSpPr>
            <a:spLocks noGrp="1"/>
          </p:cNvSpPr>
          <p:nvPr>
            <p:ph type="title"/>
          </p:nvPr>
        </p:nvSpPr>
        <p:spPr/>
        <p:txBody>
          <a:bodyPr/>
          <a:lstStyle/>
          <a:p>
            <a:r>
              <a:rPr lang="en-US" dirty="0" err="1"/>
              <a:t>Aether</a:t>
            </a:r>
            <a:r>
              <a:rPr lang="en-US" dirty="0"/>
              <a:t> Product Features</a:t>
            </a:r>
          </a:p>
        </p:txBody>
      </p:sp>
    </p:spTree>
    <p:extLst>
      <p:ext uri="{BB962C8B-B14F-4D97-AF65-F5344CB8AC3E}">
        <p14:creationId xmlns:p14="http://schemas.microsoft.com/office/powerpoint/2010/main" val="23150026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951E58-D6E7-41DA-A544-124D43AF75F7}"/>
              </a:ext>
            </a:extLst>
          </p:cNvPr>
          <p:cNvPicPr>
            <a:picLocks noChangeAspect="1"/>
          </p:cNvPicPr>
          <p:nvPr/>
        </p:nvPicPr>
        <p:blipFill>
          <a:blip r:embed="rId2"/>
          <a:stretch>
            <a:fillRect/>
          </a:stretch>
        </p:blipFill>
        <p:spPr>
          <a:xfrm>
            <a:off x="7488858" y="5328671"/>
            <a:ext cx="1307376" cy="1375263"/>
          </a:xfrm>
          <a:prstGeom prst="rect">
            <a:avLst/>
          </a:prstGeom>
        </p:spPr>
      </p:pic>
      <p:sp>
        <p:nvSpPr>
          <p:cNvPr id="5" name="Right Triangle 4">
            <a:extLst>
              <a:ext uri="{FF2B5EF4-FFF2-40B4-BE49-F238E27FC236}">
                <a16:creationId xmlns:a16="http://schemas.microsoft.com/office/drawing/2014/main" id="{71ADF420-B0F6-4295-9270-369BB75D9245}"/>
              </a:ext>
            </a:extLst>
          </p:cNvPr>
          <p:cNvSpPr/>
          <p:nvPr/>
        </p:nvSpPr>
        <p:spPr>
          <a:xfrm rot="5400000">
            <a:off x="39949" y="-39949"/>
            <a:ext cx="4181385" cy="4261285"/>
          </a:xfrm>
          <a:prstGeom prst="rtTriangle">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Regular"/>
              <a:ea typeface="+mn-ea"/>
              <a:cs typeface="+mn-cs"/>
            </a:endParaRPr>
          </a:p>
        </p:txBody>
      </p:sp>
      <p:sp>
        <p:nvSpPr>
          <p:cNvPr id="6" name="Right Triangle 5">
            <a:extLst>
              <a:ext uri="{FF2B5EF4-FFF2-40B4-BE49-F238E27FC236}">
                <a16:creationId xmlns:a16="http://schemas.microsoft.com/office/drawing/2014/main" id="{EB9FAA34-6B0E-4B9B-A71A-D263E327FCF8}"/>
              </a:ext>
            </a:extLst>
          </p:cNvPr>
          <p:cNvSpPr/>
          <p:nvPr/>
        </p:nvSpPr>
        <p:spPr>
          <a:xfrm>
            <a:off x="0" y="5482736"/>
            <a:ext cx="985421" cy="1375264"/>
          </a:xfrm>
          <a:prstGeom prst="r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Regular"/>
              <a:ea typeface="+mn-ea"/>
              <a:cs typeface="+mn-cs"/>
            </a:endParaRPr>
          </a:p>
        </p:txBody>
      </p:sp>
      <p:pic>
        <p:nvPicPr>
          <p:cNvPr id="19" name="Picture 18" descr="A picture containing object&#10;&#10;Description automatically generated">
            <a:extLst>
              <a:ext uri="{FF2B5EF4-FFF2-40B4-BE49-F238E27FC236}">
                <a16:creationId xmlns:a16="http://schemas.microsoft.com/office/drawing/2014/main" id="{4DADCD2D-9BFF-4A23-BF9C-89A91FF2B4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5265" y="353379"/>
            <a:ext cx="1269507" cy="371271"/>
          </a:xfrm>
          <a:prstGeom prst="rect">
            <a:avLst/>
          </a:prstGeom>
        </p:spPr>
      </p:pic>
      <p:sp>
        <p:nvSpPr>
          <p:cNvPr id="21" name="TextBox 20">
            <a:extLst>
              <a:ext uri="{FF2B5EF4-FFF2-40B4-BE49-F238E27FC236}">
                <a16:creationId xmlns:a16="http://schemas.microsoft.com/office/drawing/2014/main" id="{17835F59-BAAC-4737-8AFA-7419F1EACB20}"/>
              </a:ext>
            </a:extLst>
          </p:cNvPr>
          <p:cNvSpPr txBox="1"/>
          <p:nvPr/>
        </p:nvSpPr>
        <p:spPr>
          <a:xfrm>
            <a:off x="1305017" y="2751891"/>
            <a:ext cx="6533965" cy="67710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280071"/>
                </a:solidFill>
                <a:effectLst/>
                <a:uLnTx/>
                <a:uFillTx/>
                <a:latin typeface="Arial Black" panose="020B0A04020102020204" pitchFamily="34" charset="0"/>
                <a:ea typeface="+mn-ea"/>
                <a:cs typeface="+mn-cs"/>
              </a:rPr>
              <a:t>Pathogen Detection</a:t>
            </a:r>
          </a:p>
        </p:txBody>
      </p:sp>
    </p:spTree>
    <p:extLst>
      <p:ext uri="{BB962C8B-B14F-4D97-AF65-F5344CB8AC3E}">
        <p14:creationId xmlns:p14="http://schemas.microsoft.com/office/powerpoint/2010/main" val="3076633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C0836FCF-D9B0-40F2-8918-7B51CE5A248E}"/>
              </a:ext>
            </a:extLst>
          </p:cNvPr>
          <p:cNvSpPr txBox="1">
            <a:spLocks/>
          </p:cNvSpPr>
          <p:nvPr/>
        </p:nvSpPr>
        <p:spPr>
          <a:xfrm>
            <a:off x="185759" y="1164087"/>
            <a:ext cx="8668465" cy="247760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400" dirty="0">
                <a:solidFill>
                  <a:srgbClr val="002060"/>
                </a:solidFill>
                <a:latin typeface="Arial" charset="0"/>
                <a:ea typeface="MS PGothic"/>
              </a:rPr>
              <a:t>June 2017:  CMS mandates all healthcare facilities have a water management plan.  Mandate requires:</a:t>
            </a:r>
          </a:p>
          <a:p>
            <a:pPr marL="609593" lvl="1" indent="-342900" algn="just" fontAlgn="base">
              <a:spcBef>
                <a:spcPts val="1200"/>
              </a:spcBef>
              <a:spcAft>
                <a:spcPct val="0"/>
              </a:spcAft>
              <a:buClr>
                <a:schemeClr val="accent5">
                  <a:lumMod val="50000"/>
                </a:schemeClr>
              </a:buClr>
              <a:buFont typeface="+mj-lt"/>
              <a:buAutoNum type="alphaLcParenR"/>
            </a:pPr>
            <a:r>
              <a:rPr lang="en-US" sz="1400" dirty="0">
                <a:solidFill>
                  <a:srgbClr val="002060"/>
                </a:solidFill>
                <a:latin typeface="Arial" charset="0"/>
                <a:ea typeface="MS PGothic"/>
              </a:rPr>
              <a:t>Healthcare facilities must have a plan</a:t>
            </a:r>
          </a:p>
          <a:p>
            <a:pPr marL="609593" lvl="1" indent="-342900" algn="just" fontAlgn="base">
              <a:spcBef>
                <a:spcPts val="1200"/>
              </a:spcBef>
              <a:spcAft>
                <a:spcPct val="0"/>
              </a:spcAft>
              <a:buClr>
                <a:schemeClr val="accent5">
                  <a:lumMod val="50000"/>
                </a:schemeClr>
              </a:buClr>
              <a:buFont typeface="+mj-lt"/>
              <a:buAutoNum type="alphaLcParenR"/>
            </a:pPr>
            <a:r>
              <a:rPr lang="en-US" sz="1400" dirty="0">
                <a:solidFill>
                  <a:srgbClr val="002060"/>
                </a:solidFill>
                <a:latin typeface="Arial" charset="0"/>
                <a:ea typeface="MS PGothic"/>
              </a:rPr>
              <a:t>Plan must be enforced and water must be tested</a:t>
            </a:r>
          </a:p>
          <a:p>
            <a:pPr marL="609593" lvl="1" indent="-342900" algn="just" fontAlgn="base">
              <a:spcBef>
                <a:spcPts val="1200"/>
              </a:spcBef>
              <a:spcAft>
                <a:spcPct val="0"/>
              </a:spcAft>
              <a:buClr>
                <a:schemeClr val="accent5">
                  <a:lumMod val="50000"/>
                </a:schemeClr>
              </a:buClr>
              <a:buFont typeface="+mj-lt"/>
              <a:buAutoNum type="alphaLcParenR"/>
            </a:pPr>
            <a:r>
              <a:rPr lang="en-US" sz="1400" dirty="0">
                <a:solidFill>
                  <a:srgbClr val="002060"/>
                </a:solidFill>
                <a:latin typeface="Arial" charset="0"/>
                <a:ea typeface="MS PGothic"/>
              </a:rPr>
              <a:t>Must take action if pathogens are detected</a:t>
            </a:r>
          </a:p>
          <a:p>
            <a:pPr marL="966772" lvl="2" indent="-285750" algn="just" fontAlgn="base">
              <a:spcBef>
                <a:spcPts val="1200"/>
              </a:spcBef>
              <a:spcAft>
                <a:spcPct val="0"/>
              </a:spcAft>
              <a:buClr>
                <a:schemeClr val="accent5">
                  <a:lumMod val="50000"/>
                </a:schemeClr>
              </a:buClr>
              <a:buFont typeface="+mj-lt"/>
              <a:buAutoNum type="arabicPeriod"/>
            </a:pPr>
            <a:r>
              <a:rPr lang="en-US" sz="1400" dirty="0">
                <a:solidFill>
                  <a:srgbClr val="002060"/>
                </a:solidFill>
                <a:latin typeface="Arial" charset="0"/>
                <a:ea typeface="MS PGothic"/>
              </a:rPr>
              <a:t>Install filters</a:t>
            </a:r>
          </a:p>
          <a:p>
            <a:pPr marL="966772" lvl="2" indent="-285750" algn="just" fontAlgn="base">
              <a:spcBef>
                <a:spcPts val="1200"/>
              </a:spcBef>
              <a:spcAft>
                <a:spcPct val="0"/>
              </a:spcAft>
              <a:buClr>
                <a:schemeClr val="accent5">
                  <a:lumMod val="50000"/>
                </a:schemeClr>
              </a:buClr>
              <a:buFont typeface="+mj-lt"/>
              <a:buAutoNum type="arabicPeriod"/>
            </a:pPr>
            <a:r>
              <a:rPr lang="en-US" sz="1400" dirty="0">
                <a:solidFill>
                  <a:srgbClr val="002060"/>
                </a:solidFill>
                <a:latin typeface="Arial" charset="0"/>
                <a:ea typeface="MS PGothic"/>
              </a:rPr>
              <a:t>Chemical cleanse (chlorine, etc.)</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
        <p:nvSpPr>
          <p:cNvPr id="9" name="Arrow: Right 8">
            <a:extLst>
              <a:ext uri="{FF2B5EF4-FFF2-40B4-BE49-F238E27FC236}">
                <a16:creationId xmlns:a16="http://schemas.microsoft.com/office/drawing/2014/main" id="{12EE5F78-924E-4AD9-AAF4-F494E940F757}"/>
              </a:ext>
            </a:extLst>
          </p:cNvPr>
          <p:cNvSpPr/>
          <p:nvPr/>
        </p:nvSpPr>
        <p:spPr>
          <a:xfrm flipH="1">
            <a:off x="3200398" y="2751998"/>
            <a:ext cx="1794295" cy="365760"/>
          </a:xfrm>
          <a:prstGeom prst="rightArrow">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99B1A52F-DAE5-4103-8B23-F73AE7AC6A17}"/>
              </a:ext>
            </a:extLst>
          </p:cNvPr>
          <p:cNvSpPr>
            <a:spLocks noGrp="1"/>
          </p:cNvSpPr>
          <p:nvPr>
            <p:ph type="sldNum" sz="quarter" idx="12"/>
          </p:nvPr>
        </p:nvSpPr>
        <p:spPr/>
        <p:txBody>
          <a:bodyPr/>
          <a:lstStyle/>
          <a:p>
            <a:fld id="{1703025F-5038-48A2-8F2E-D28A39FB9727}" type="slidenum">
              <a:rPr lang="en-US" smtClean="0"/>
              <a:pPr/>
              <a:t>18</a:t>
            </a:fld>
            <a:endParaRPr lang="en-US" dirty="0"/>
          </a:p>
        </p:txBody>
      </p:sp>
      <p:sp>
        <p:nvSpPr>
          <p:cNvPr id="5" name="Title 2">
            <a:extLst>
              <a:ext uri="{FF2B5EF4-FFF2-40B4-BE49-F238E27FC236}">
                <a16:creationId xmlns:a16="http://schemas.microsoft.com/office/drawing/2014/main" id="{B7084352-94D5-474A-87CE-461BBFFF7364}"/>
              </a:ext>
            </a:extLst>
          </p:cNvPr>
          <p:cNvSpPr>
            <a:spLocks noGrp="1"/>
          </p:cNvSpPr>
          <p:nvPr>
            <p:ph type="title"/>
          </p:nvPr>
        </p:nvSpPr>
        <p:spPr>
          <a:xfrm>
            <a:off x="185759" y="479399"/>
            <a:ext cx="7801527" cy="415498"/>
          </a:xfrm>
        </p:spPr>
        <p:txBody>
          <a:bodyPr/>
          <a:lstStyle/>
          <a:p>
            <a:r>
              <a:rPr lang="en-US" dirty="0"/>
              <a:t>Pathogen Detection:  Introducing </a:t>
            </a:r>
            <a:r>
              <a:rPr lang="en-US" dirty="0" err="1"/>
              <a:t>PluraPath</a:t>
            </a:r>
            <a:r>
              <a:rPr lang="en-US" dirty="0"/>
              <a:t>™</a:t>
            </a:r>
          </a:p>
        </p:txBody>
      </p:sp>
      <p:sp>
        <p:nvSpPr>
          <p:cNvPr id="7" name="Oval 6">
            <a:extLst>
              <a:ext uri="{FF2B5EF4-FFF2-40B4-BE49-F238E27FC236}">
                <a16:creationId xmlns:a16="http://schemas.microsoft.com/office/drawing/2014/main" id="{C761817D-9E0A-4081-8EAF-FC4678EA9D79}"/>
              </a:ext>
            </a:extLst>
          </p:cNvPr>
          <p:cNvSpPr/>
          <p:nvPr/>
        </p:nvSpPr>
        <p:spPr>
          <a:xfrm>
            <a:off x="4187187" y="2664407"/>
            <a:ext cx="1561381" cy="548637"/>
          </a:xfrm>
          <a:prstGeom prst="ellipse">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tx1"/>
                </a:solidFill>
                <a:latin typeface="Arial" panose="020B0604020202020204" pitchFamily="34" charset="0"/>
                <a:cs typeface="Arial" panose="020B0604020202020204" pitchFamily="34" charset="0"/>
              </a:rPr>
              <a:t>Current Nephros Sales</a:t>
            </a:r>
          </a:p>
        </p:txBody>
      </p:sp>
      <p:sp>
        <p:nvSpPr>
          <p:cNvPr id="11" name="Arrow: Right 10">
            <a:extLst>
              <a:ext uri="{FF2B5EF4-FFF2-40B4-BE49-F238E27FC236}">
                <a16:creationId xmlns:a16="http://schemas.microsoft.com/office/drawing/2014/main" id="{7A270A9F-9AA4-4DD8-8235-354901628623}"/>
              </a:ext>
            </a:extLst>
          </p:cNvPr>
          <p:cNvSpPr/>
          <p:nvPr/>
        </p:nvSpPr>
        <p:spPr>
          <a:xfrm flipH="1">
            <a:off x="4813538" y="2058002"/>
            <a:ext cx="1719044" cy="365760"/>
          </a:xfrm>
          <a:prstGeom prst="rightArrow">
            <a:avLst/>
          </a:prstGeom>
          <a:solidFill>
            <a:srgbClr val="28007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100" b="1">
              <a:latin typeface="Arial" panose="020B0604020202020204" pitchFamily="34" charset="0"/>
              <a:cs typeface="Arial" panose="020B0604020202020204" pitchFamily="34" charset="0"/>
            </a:endParaRPr>
          </a:p>
        </p:txBody>
      </p:sp>
      <p:sp>
        <p:nvSpPr>
          <p:cNvPr id="13" name="Text Placeholder 3">
            <a:extLst>
              <a:ext uri="{FF2B5EF4-FFF2-40B4-BE49-F238E27FC236}">
                <a16:creationId xmlns:a16="http://schemas.microsoft.com/office/drawing/2014/main" id="{EABCBFC1-B5E2-4A2E-BFA0-D61333AAA2FE}"/>
              </a:ext>
            </a:extLst>
          </p:cNvPr>
          <p:cNvSpPr txBox="1">
            <a:spLocks/>
          </p:cNvSpPr>
          <p:nvPr/>
        </p:nvSpPr>
        <p:spPr>
          <a:xfrm>
            <a:off x="514714" y="3771807"/>
            <a:ext cx="3485072"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002060"/>
                </a:solidFill>
                <a:latin typeface="Arial" charset="0"/>
                <a:ea typeface="MS PGothic"/>
              </a:rPr>
              <a:t>Benefits</a:t>
            </a:r>
          </a:p>
        </p:txBody>
      </p:sp>
      <p:cxnSp>
        <p:nvCxnSpPr>
          <p:cNvPr id="14" name="Straight Connector 13">
            <a:extLst>
              <a:ext uri="{FF2B5EF4-FFF2-40B4-BE49-F238E27FC236}">
                <a16:creationId xmlns:a16="http://schemas.microsoft.com/office/drawing/2014/main" id="{7F47B9D8-6C24-4AA1-8B90-D678A421F313}"/>
              </a:ext>
            </a:extLst>
          </p:cNvPr>
          <p:cNvCxnSpPr/>
          <p:nvPr/>
        </p:nvCxnSpPr>
        <p:spPr>
          <a:xfrm>
            <a:off x="435592" y="4021134"/>
            <a:ext cx="36964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88E41E33-7B38-4EFE-A772-A2280B212ADA}"/>
              </a:ext>
            </a:extLst>
          </p:cNvPr>
          <p:cNvSpPr txBox="1">
            <a:spLocks/>
          </p:cNvSpPr>
          <p:nvPr/>
        </p:nvSpPr>
        <p:spPr>
          <a:xfrm>
            <a:off x="5023449" y="3768939"/>
            <a:ext cx="3485072"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0072CE"/>
                </a:solidFill>
                <a:latin typeface="Arial" charset="0"/>
                <a:ea typeface="MS PGothic"/>
              </a:rPr>
              <a:t>Assays Include:</a:t>
            </a:r>
          </a:p>
        </p:txBody>
      </p:sp>
      <p:cxnSp>
        <p:nvCxnSpPr>
          <p:cNvPr id="16" name="Straight Connector 15">
            <a:extLst>
              <a:ext uri="{FF2B5EF4-FFF2-40B4-BE49-F238E27FC236}">
                <a16:creationId xmlns:a16="http://schemas.microsoft.com/office/drawing/2014/main" id="{9BBD5E3A-0437-4D83-999C-A88187B3D04D}"/>
              </a:ext>
            </a:extLst>
          </p:cNvPr>
          <p:cNvCxnSpPr/>
          <p:nvPr/>
        </p:nvCxnSpPr>
        <p:spPr>
          <a:xfrm>
            <a:off x="4944327" y="4018266"/>
            <a:ext cx="36964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93566C1D-80F8-4F9F-89A2-EE64AD408EC2}"/>
              </a:ext>
            </a:extLst>
          </p:cNvPr>
          <p:cNvSpPr txBox="1">
            <a:spLocks/>
          </p:cNvSpPr>
          <p:nvPr/>
        </p:nvSpPr>
        <p:spPr>
          <a:xfrm>
            <a:off x="435593" y="4115275"/>
            <a:ext cx="3696462" cy="156966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mj-lt"/>
              <a:buAutoNum type="arabicParenR"/>
            </a:pPr>
            <a:r>
              <a:rPr lang="en-US" sz="1200" dirty="0">
                <a:solidFill>
                  <a:srgbClr val="002060"/>
                </a:solidFill>
                <a:latin typeface="Arial" charset="0"/>
                <a:ea typeface="MS PGothic"/>
              </a:rPr>
              <a:t>On-site pathogen detection (no need to ship to lab)</a:t>
            </a:r>
          </a:p>
          <a:p>
            <a:pPr marL="285750" indent="-285750" algn="just" fontAlgn="base">
              <a:lnSpc>
                <a:spcPct val="100000"/>
              </a:lnSpc>
              <a:spcBef>
                <a:spcPts val="1200"/>
              </a:spcBef>
              <a:spcAft>
                <a:spcPct val="0"/>
              </a:spcAft>
              <a:buFont typeface="+mj-lt"/>
              <a:buAutoNum type="arabicParenR"/>
            </a:pPr>
            <a:r>
              <a:rPr lang="en-US" sz="1200" dirty="0">
                <a:solidFill>
                  <a:srgbClr val="002060"/>
                </a:solidFill>
                <a:latin typeface="Arial" charset="0"/>
                <a:ea typeface="MS PGothic"/>
              </a:rPr>
              <a:t>Tested by own employees (not lab technicians)</a:t>
            </a:r>
          </a:p>
          <a:p>
            <a:pPr marL="285750" indent="-285750" algn="just" fontAlgn="base">
              <a:lnSpc>
                <a:spcPct val="100000"/>
              </a:lnSpc>
              <a:spcBef>
                <a:spcPts val="1200"/>
              </a:spcBef>
              <a:spcAft>
                <a:spcPct val="0"/>
              </a:spcAft>
              <a:buFont typeface="+mj-lt"/>
              <a:buAutoNum type="arabicParenR"/>
            </a:pPr>
            <a:r>
              <a:rPr lang="en-US" sz="1200" dirty="0">
                <a:solidFill>
                  <a:srgbClr val="002060"/>
                </a:solidFill>
                <a:latin typeface="Arial" charset="0"/>
                <a:ea typeface="MS PGothic"/>
              </a:rPr>
              <a:t>Real-time results (in ~1 hour)</a:t>
            </a:r>
          </a:p>
          <a:p>
            <a:pPr marL="285750" indent="-285750" algn="just" fontAlgn="base">
              <a:lnSpc>
                <a:spcPct val="100000"/>
              </a:lnSpc>
              <a:spcBef>
                <a:spcPts val="1200"/>
              </a:spcBef>
              <a:spcAft>
                <a:spcPct val="0"/>
              </a:spcAft>
              <a:buFont typeface="+mj-lt"/>
              <a:buAutoNum type="arabicParenR"/>
            </a:pPr>
            <a:r>
              <a:rPr lang="en-US" sz="1200" dirty="0">
                <a:solidFill>
                  <a:srgbClr val="002060"/>
                </a:solidFill>
                <a:latin typeface="Arial" charset="0"/>
                <a:ea typeface="MS PGothic"/>
              </a:rPr>
              <a:t>15 pathogen panel tested simultaneously with a single water sample</a:t>
            </a:r>
          </a:p>
        </p:txBody>
      </p:sp>
      <p:sp>
        <p:nvSpPr>
          <p:cNvPr id="19" name="Text Placeholder 3">
            <a:extLst>
              <a:ext uri="{FF2B5EF4-FFF2-40B4-BE49-F238E27FC236}">
                <a16:creationId xmlns:a16="http://schemas.microsoft.com/office/drawing/2014/main" id="{8651BCD4-29ED-4F22-9F5A-7CE655C77F89}"/>
              </a:ext>
            </a:extLst>
          </p:cNvPr>
          <p:cNvSpPr txBox="1">
            <a:spLocks/>
          </p:cNvSpPr>
          <p:nvPr/>
        </p:nvSpPr>
        <p:spPr>
          <a:xfrm>
            <a:off x="4958169" y="4114728"/>
            <a:ext cx="1814106" cy="153888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Legionella</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E. coli</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Pseudomonas</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Shigella</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Salmonella</a:t>
            </a:r>
          </a:p>
        </p:txBody>
      </p:sp>
      <p:sp>
        <p:nvSpPr>
          <p:cNvPr id="20" name="Text Placeholder 3">
            <a:extLst>
              <a:ext uri="{FF2B5EF4-FFF2-40B4-BE49-F238E27FC236}">
                <a16:creationId xmlns:a16="http://schemas.microsoft.com/office/drawing/2014/main" id="{CDE8E1CC-5ABE-4BE8-B642-07AC90A46AB1}"/>
              </a:ext>
            </a:extLst>
          </p:cNvPr>
          <p:cNvSpPr txBox="1">
            <a:spLocks/>
          </p:cNvSpPr>
          <p:nvPr/>
        </p:nvSpPr>
        <p:spPr>
          <a:xfrm>
            <a:off x="6691719" y="4114728"/>
            <a:ext cx="1814106" cy="153888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Mycobacterium</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Norovirus</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err="1">
                <a:solidFill>
                  <a:srgbClr val="0072CE"/>
                </a:solidFill>
                <a:latin typeface="Arial" charset="0"/>
                <a:ea typeface="MS PGothic"/>
              </a:rPr>
              <a:t>Rotovirus</a:t>
            </a:r>
            <a:endParaRPr lang="en-US" sz="1200" dirty="0">
              <a:solidFill>
                <a:srgbClr val="0072CE"/>
              </a:solidFill>
              <a:latin typeface="Arial" charset="0"/>
              <a:ea typeface="MS PGothic"/>
            </a:endParaRPr>
          </a:p>
          <a:p>
            <a:pPr marL="285750" indent="-285750" algn="just" fontAlgn="base">
              <a:lnSpc>
                <a:spcPct val="100000"/>
              </a:lnSpc>
              <a:spcBef>
                <a:spcPts val="1200"/>
              </a:spcBef>
              <a:spcAft>
                <a:spcPct val="0"/>
              </a:spcAft>
              <a:buFont typeface="Wingdings" panose="05000000000000000000" pitchFamily="2" charset="2"/>
              <a:buChar char="§"/>
            </a:pPr>
            <a:r>
              <a:rPr lang="en-US" sz="1200" dirty="0">
                <a:solidFill>
                  <a:srgbClr val="0072CE"/>
                </a:solidFill>
                <a:latin typeface="Arial" charset="0"/>
                <a:ea typeface="MS PGothic"/>
              </a:rPr>
              <a:t>Mycobacterium</a:t>
            </a:r>
          </a:p>
          <a:p>
            <a:pPr marL="285750" indent="-285750" algn="just" fontAlgn="base">
              <a:lnSpc>
                <a:spcPct val="100000"/>
              </a:lnSpc>
              <a:spcBef>
                <a:spcPts val="1200"/>
              </a:spcBef>
              <a:spcAft>
                <a:spcPct val="0"/>
              </a:spcAft>
              <a:buFont typeface="Wingdings" panose="05000000000000000000" pitchFamily="2" charset="2"/>
              <a:buChar char="§"/>
            </a:pPr>
            <a:r>
              <a:rPr lang="en-US" sz="1200" dirty="0" err="1">
                <a:solidFill>
                  <a:srgbClr val="0072CE"/>
                </a:solidFill>
                <a:latin typeface="Arial" charset="0"/>
                <a:ea typeface="MS PGothic"/>
              </a:rPr>
              <a:t>Camylobacter</a:t>
            </a:r>
            <a:endParaRPr lang="en-US" sz="1200" dirty="0">
              <a:solidFill>
                <a:srgbClr val="0072CE"/>
              </a:solidFill>
              <a:latin typeface="Arial" charset="0"/>
              <a:ea typeface="MS PGothic"/>
            </a:endParaRPr>
          </a:p>
        </p:txBody>
      </p:sp>
      <p:sp>
        <p:nvSpPr>
          <p:cNvPr id="10" name="Oval 9">
            <a:extLst>
              <a:ext uri="{FF2B5EF4-FFF2-40B4-BE49-F238E27FC236}">
                <a16:creationId xmlns:a16="http://schemas.microsoft.com/office/drawing/2014/main" id="{58B0E615-6285-43B3-A1A2-0F4CE8122A81}"/>
              </a:ext>
            </a:extLst>
          </p:cNvPr>
          <p:cNvSpPr/>
          <p:nvPr/>
        </p:nvSpPr>
        <p:spPr>
          <a:xfrm>
            <a:off x="5518747" y="1961444"/>
            <a:ext cx="1561381" cy="548637"/>
          </a:xfrm>
          <a:prstGeom prst="ellipse">
            <a:avLst/>
          </a:prstGeom>
          <a:solidFill>
            <a:srgbClr val="28007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err="1">
                <a:latin typeface="Arial" panose="020B0604020202020204" pitchFamily="34" charset="0"/>
                <a:cs typeface="Arial" panose="020B0604020202020204" pitchFamily="34" charset="0"/>
              </a:rPr>
              <a:t>PluraPath</a:t>
            </a:r>
            <a:r>
              <a:rPr lang="en-US" sz="1100" b="1" dirty="0">
                <a:latin typeface="Arial" panose="020B0604020202020204" pitchFamily="34" charset="0"/>
                <a:cs typeface="Arial" panose="020B0604020202020204" pitchFamily="34" charset="0"/>
              </a:rPr>
              <a:t>™ Enables Testing Sales</a:t>
            </a:r>
          </a:p>
        </p:txBody>
      </p:sp>
      <p:sp>
        <p:nvSpPr>
          <p:cNvPr id="2" name="Right Brace 1">
            <a:extLst>
              <a:ext uri="{FF2B5EF4-FFF2-40B4-BE49-F238E27FC236}">
                <a16:creationId xmlns:a16="http://schemas.microsoft.com/office/drawing/2014/main" id="{ECFEC9C6-5F95-4183-9C97-A51C1119524F}"/>
              </a:ext>
            </a:extLst>
          </p:cNvPr>
          <p:cNvSpPr/>
          <p:nvPr/>
        </p:nvSpPr>
        <p:spPr>
          <a:xfrm>
            <a:off x="7080128" y="1660849"/>
            <a:ext cx="263064" cy="1768151"/>
          </a:xfrm>
          <a:prstGeom prst="rightBrace">
            <a:avLst>
              <a:gd name="adj1" fmla="val 136021"/>
              <a:gd name="adj2" fmla="val 50000"/>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dirty="0"/>
          </a:p>
        </p:txBody>
      </p:sp>
      <p:sp>
        <p:nvSpPr>
          <p:cNvPr id="18" name="Oval 17">
            <a:extLst>
              <a:ext uri="{FF2B5EF4-FFF2-40B4-BE49-F238E27FC236}">
                <a16:creationId xmlns:a16="http://schemas.microsoft.com/office/drawing/2014/main" id="{313CB017-26D1-4B89-8BA2-DA29225121C3}"/>
              </a:ext>
            </a:extLst>
          </p:cNvPr>
          <p:cNvSpPr/>
          <p:nvPr/>
        </p:nvSpPr>
        <p:spPr>
          <a:xfrm>
            <a:off x="7407500" y="1810814"/>
            <a:ext cx="1615049" cy="1468220"/>
          </a:xfrm>
          <a:prstGeom prst="ellipse">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tx1"/>
                </a:solidFill>
                <a:latin typeface="Arial" panose="020B0604020202020204" pitchFamily="34" charset="0"/>
                <a:cs typeface="Arial" panose="020B0604020202020204" pitchFamily="34" charset="0"/>
              </a:rPr>
              <a:t>Services and Products Offered by Water Service Partners</a:t>
            </a:r>
          </a:p>
        </p:txBody>
      </p:sp>
    </p:spTree>
    <p:extLst>
      <p:ext uri="{BB962C8B-B14F-4D97-AF65-F5344CB8AC3E}">
        <p14:creationId xmlns:p14="http://schemas.microsoft.com/office/powerpoint/2010/main" val="15978776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50246"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417902"/>
            <a:ext cx="7801527" cy="415498"/>
          </a:xfrm>
        </p:spPr>
        <p:txBody>
          <a:bodyPr/>
          <a:lstStyle/>
          <a:p>
            <a:r>
              <a:rPr lang="en-US" dirty="0"/>
              <a:t>Pathogen Detection:  Introducing PluraPath™</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a:defRPr/>
            </a:pPr>
            <a:fld id="{1703025F-5038-48A2-8F2E-D28A39FB9727}" type="slidenum">
              <a:rPr lang="en-US">
                <a:solidFill>
                  <a:prstClr val="white"/>
                </a:solidFill>
                <a:latin typeface="Calibri Regular"/>
              </a:rPr>
              <a:pPr>
                <a:defRPr/>
              </a:pPr>
              <a:t>19</a:t>
            </a:fld>
            <a:endParaRPr lang="en-US" dirty="0">
              <a:solidFill>
                <a:prstClr val="white"/>
              </a:solidFill>
              <a:latin typeface="Calibri Regular"/>
            </a:endParaRPr>
          </a:p>
        </p:txBody>
      </p:sp>
      <p:sp>
        <p:nvSpPr>
          <p:cNvPr id="4" name="TextBox 3">
            <a:extLst>
              <a:ext uri="{FF2B5EF4-FFF2-40B4-BE49-F238E27FC236}">
                <a16:creationId xmlns:a16="http://schemas.microsoft.com/office/drawing/2014/main" id="{AF8EAD19-7B21-4CC3-9882-7A1A9544C99A}"/>
              </a:ext>
            </a:extLst>
          </p:cNvPr>
          <p:cNvSpPr txBox="1"/>
          <p:nvPr/>
        </p:nvSpPr>
        <p:spPr>
          <a:xfrm>
            <a:off x="452843" y="3053766"/>
            <a:ext cx="4473719" cy="43088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defRPr/>
            </a:pPr>
            <a:r>
              <a:rPr lang="en-US" sz="1400" b="1" dirty="0">
                <a:solidFill>
                  <a:srgbClr val="280071"/>
                </a:solidFill>
                <a:latin typeface="Arial" panose="020B0604020202020204" pitchFamily="34" charset="0"/>
                <a:cs typeface="Arial" panose="020B0604020202020204" pitchFamily="34" charset="0"/>
              </a:rPr>
              <a:t>Performs 15 separate DNA/RNA assays from a 1-liter water sample in approximately 1 hour</a:t>
            </a:r>
          </a:p>
        </p:txBody>
      </p:sp>
      <p:sp>
        <p:nvSpPr>
          <p:cNvPr id="15" name="TextBox 14">
            <a:extLst>
              <a:ext uri="{FF2B5EF4-FFF2-40B4-BE49-F238E27FC236}">
                <a16:creationId xmlns:a16="http://schemas.microsoft.com/office/drawing/2014/main" id="{C88B5EE7-96EE-4A04-9536-2BF1715E670A}"/>
              </a:ext>
            </a:extLst>
          </p:cNvPr>
          <p:cNvSpPr txBox="1"/>
          <p:nvPr/>
        </p:nvSpPr>
        <p:spPr>
          <a:xfrm>
            <a:off x="371082" y="3613518"/>
            <a:ext cx="5162943" cy="1677382"/>
          </a:xfrm>
          <a:prstGeom prst="rect">
            <a:avLst/>
          </a:prstGeom>
          <a:noFill/>
          <a:ln w="12700">
            <a:solidFill>
              <a:schemeClr val="accent5"/>
            </a:solidFill>
          </a:ln>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spcBef>
                <a:spcPts val="600"/>
              </a:spcBef>
            </a:pPr>
            <a:r>
              <a:rPr lang="en-US" sz="1400" dirty="0">
                <a:solidFill>
                  <a:srgbClr val="002060"/>
                </a:solidFill>
                <a:latin typeface="Arial" panose="020B0604020202020204" pitchFamily="34" charset="0"/>
                <a:cs typeface="Arial" panose="020B0604020202020204" pitchFamily="34" charset="0"/>
              </a:rPr>
              <a:t>Step 1: Collect 1-liter sample into sterile bag</a:t>
            </a:r>
          </a:p>
          <a:p>
            <a:pPr>
              <a:spcBef>
                <a:spcPts val="600"/>
              </a:spcBef>
            </a:pPr>
            <a:r>
              <a:rPr lang="en-US" sz="1400" dirty="0">
                <a:solidFill>
                  <a:srgbClr val="002060"/>
                </a:solidFill>
                <a:latin typeface="Arial" panose="020B0604020202020204" pitchFamily="34" charset="0"/>
                <a:cs typeface="Arial" panose="020B0604020202020204" pitchFamily="34" charset="0"/>
              </a:rPr>
              <a:t>Step 2: Concentrate test sample w/ Nephros ultrafilter</a:t>
            </a:r>
          </a:p>
          <a:p>
            <a:pPr>
              <a:spcBef>
                <a:spcPts val="600"/>
              </a:spcBef>
            </a:pPr>
            <a:r>
              <a:rPr lang="en-US" sz="1400" dirty="0">
                <a:solidFill>
                  <a:srgbClr val="002060"/>
                </a:solidFill>
                <a:latin typeface="Arial" panose="020B0604020202020204" pitchFamily="34" charset="0"/>
                <a:cs typeface="Arial" panose="020B0604020202020204" pitchFamily="34" charset="0"/>
              </a:rPr>
              <a:t>Step 3: Aliquot concentrate into an 8-well PCR test strip</a:t>
            </a:r>
          </a:p>
          <a:p>
            <a:pPr>
              <a:spcBef>
                <a:spcPts val="600"/>
              </a:spcBef>
            </a:pPr>
            <a:r>
              <a:rPr lang="en-US" sz="1400" dirty="0">
                <a:solidFill>
                  <a:srgbClr val="002060"/>
                </a:solidFill>
                <a:latin typeface="Arial" panose="020B0604020202020204" pitchFamily="34" charset="0"/>
                <a:cs typeface="Arial" panose="020B0604020202020204" pitchFamily="34" charset="0"/>
              </a:rPr>
              <a:t>Step 4: Initiate portable real-time thermocycler </a:t>
            </a:r>
          </a:p>
          <a:p>
            <a:pPr>
              <a:spcBef>
                <a:spcPts val="600"/>
              </a:spcBef>
            </a:pPr>
            <a:r>
              <a:rPr lang="en-US" sz="1400" dirty="0">
                <a:solidFill>
                  <a:srgbClr val="002060"/>
                </a:solidFill>
                <a:latin typeface="Arial" panose="020B0604020202020204" pitchFamily="34" charset="0"/>
                <a:cs typeface="Arial" panose="020B0604020202020204" pitchFamily="34" charset="0"/>
              </a:rPr>
              <a:t>Step 5: Thermocycler runs automatically for about 30 minutes</a:t>
            </a:r>
          </a:p>
          <a:p>
            <a:pPr>
              <a:spcBef>
                <a:spcPts val="600"/>
              </a:spcBef>
            </a:pPr>
            <a:r>
              <a:rPr lang="en-US" sz="1400" dirty="0">
                <a:solidFill>
                  <a:srgbClr val="002060"/>
                </a:solidFill>
                <a:latin typeface="Arial" panose="020B0604020202020204" pitchFamily="34" charset="0"/>
                <a:cs typeface="Arial" panose="020B0604020202020204" pitchFamily="34" charset="0"/>
              </a:rPr>
              <a:t>Step 6: Upload data and review report w/ Nephros Mobile App</a:t>
            </a:r>
          </a:p>
        </p:txBody>
      </p:sp>
      <p:sp>
        <p:nvSpPr>
          <p:cNvPr id="22" name="TextBox 21">
            <a:extLst>
              <a:ext uri="{FF2B5EF4-FFF2-40B4-BE49-F238E27FC236}">
                <a16:creationId xmlns:a16="http://schemas.microsoft.com/office/drawing/2014/main" id="{1D044476-6026-4322-8D81-7A1E22F647ED}"/>
              </a:ext>
            </a:extLst>
          </p:cNvPr>
          <p:cNvSpPr txBox="1"/>
          <p:nvPr/>
        </p:nvSpPr>
        <p:spPr>
          <a:xfrm>
            <a:off x="6333683" y="5487473"/>
            <a:ext cx="2520541" cy="1538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000" b="1" dirty="0">
                <a:solidFill>
                  <a:srgbClr val="280071"/>
                </a:solidFill>
                <a:latin typeface="Arial" panose="020B0604020202020204" pitchFamily="34" charset="0"/>
                <a:cs typeface="Arial" panose="020B0604020202020204" pitchFamily="34" charset="0"/>
              </a:rPr>
              <a:t>Custom Pelican Case for Easy Portability</a:t>
            </a:r>
          </a:p>
        </p:txBody>
      </p:sp>
      <p:sp>
        <p:nvSpPr>
          <p:cNvPr id="23" name="TextBox 22">
            <a:extLst>
              <a:ext uri="{FF2B5EF4-FFF2-40B4-BE49-F238E27FC236}">
                <a16:creationId xmlns:a16="http://schemas.microsoft.com/office/drawing/2014/main" id="{43762009-D1BD-496E-9AF2-282B9530219F}"/>
              </a:ext>
            </a:extLst>
          </p:cNvPr>
          <p:cNvSpPr txBox="1"/>
          <p:nvPr/>
        </p:nvSpPr>
        <p:spPr>
          <a:xfrm>
            <a:off x="6044388" y="3218706"/>
            <a:ext cx="3080657" cy="1538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000" b="1" dirty="0">
                <a:solidFill>
                  <a:srgbClr val="280071"/>
                </a:solidFill>
                <a:latin typeface="Arial" panose="020B0604020202020204" pitchFamily="34" charset="0"/>
                <a:cs typeface="Arial" panose="020B0604020202020204" pitchFamily="34" charset="0"/>
              </a:rPr>
              <a:t>Portable, Real-time Open Source Thermocycler</a:t>
            </a:r>
          </a:p>
        </p:txBody>
      </p:sp>
      <p:pic>
        <p:nvPicPr>
          <p:cNvPr id="25" name="Picture 24" descr="A picture containing indoor, table, sitting, camera&#10;&#10;Description automatically generated">
            <a:extLst>
              <a:ext uri="{FF2B5EF4-FFF2-40B4-BE49-F238E27FC236}">
                <a16:creationId xmlns:a16="http://schemas.microsoft.com/office/drawing/2014/main" id="{CF019E29-DEE9-4902-97FD-D3A60748DF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0003" y="3799491"/>
            <a:ext cx="2327900" cy="1567140"/>
          </a:xfrm>
          <a:prstGeom prst="rect">
            <a:avLst/>
          </a:prstGeom>
          <a:ln>
            <a:noFill/>
          </a:ln>
          <a:effectLst>
            <a:outerShdw blurRad="190500" algn="tl" rotWithShape="0">
              <a:srgbClr val="000000">
                <a:alpha val="70000"/>
              </a:srgbClr>
            </a:outerShdw>
          </a:effectLst>
        </p:spPr>
      </p:pic>
      <p:pic>
        <p:nvPicPr>
          <p:cNvPr id="27" name="Picture 26" descr="A close up of a device&#10;&#10;Description automatically generated">
            <a:extLst>
              <a:ext uri="{FF2B5EF4-FFF2-40B4-BE49-F238E27FC236}">
                <a16:creationId xmlns:a16="http://schemas.microsoft.com/office/drawing/2014/main" id="{C0C5121B-8FFD-4491-9839-200389797C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00895" y="1300309"/>
            <a:ext cx="2249587" cy="1829657"/>
          </a:xfrm>
          <a:prstGeom prst="rect">
            <a:avLst/>
          </a:prstGeom>
          <a:ln>
            <a:noFill/>
          </a:ln>
          <a:effectLst>
            <a:outerShdw blurRad="190500" algn="tl" rotWithShape="0">
              <a:srgbClr val="000000">
                <a:alpha val="70000"/>
              </a:srgbClr>
            </a:outerShdw>
          </a:effectLst>
        </p:spPr>
      </p:pic>
      <p:sp>
        <p:nvSpPr>
          <p:cNvPr id="29" name="Text Placeholder 3">
            <a:extLst>
              <a:ext uri="{FF2B5EF4-FFF2-40B4-BE49-F238E27FC236}">
                <a16:creationId xmlns:a16="http://schemas.microsoft.com/office/drawing/2014/main" id="{DEE9D8F5-7DE4-4A6F-A029-262B32EB854D}"/>
              </a:ext>
            </a:extLst>
          </p:cNvPr>
          <p:cNvSpPr txBox="1">
            <a:spLocks/>
          </p:cNvSpPr>
          <p:nvPr/>
        </p:nvSpPr>
        <p:spPr>
          <a:xfrm>
            <a:off x="185760" y="1268862"/>
            <a:ext cx="5634016" cy="152349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800"/>
              </a:spcBef>
              <a:spcAft>
                <a:spcPct val="0"/>
              </a:spcAft>
              <a:buFont typeface="Wingdings" panose="05000000000000000000" pitchFamily="2" charset="2"/>
              <a:buChar char="§"/>
            </a:pPr>
            <a:r>
              <a:rPr lang="en-US" sz="1400" dirty="0">
                <a:solidFill>
                  <a:srgbClr val="002060"/>
                </a:solidFill>
                <a:latin typeface="Arial" charset="0"/>
                <a:ea typeface="MS PGothic"/>
              </a:rPr>
              <a:t>Nephros uses the same distributors as the filtration business to market PluraPath™</a:t>
            </a:r>
          </a:p>
          <a:p>
            <a:pPr marL="285750" indent="-285750" algn="just" fontAlgn="base">
              <a:lnSpc>
                <a:spcPct val="100000"/>
              </a:lnSpc>
              <a:spcBef>
                <a:spcPts val="1800"/>
              </a:spcBef>
              <a:spcAft>
                <a:spcPct val="0"/>
              </a:spcAft>
              <a:buFont typeface="Wingdings" panose="05000000000000000000" pitchFamily="2" charset="2"/>
              <a:buChar char="§"/>
            </a:pPr>
            <a:r>
              <a:rPr lang="en-US" sz="1400" dirty="0">
                <a:solidFill>
                  <a:srgbClr val="002060"/>
                </a:solidFill>
                <a:latin typeface="Arial" charset="0"/>
                <a:ea typeface="MS PGothic"/>
              </a:rPr>
              <a:t>Largely Recurring Revenue</a:t>
            </a:r>
          </a:p>
          <a:p>
            <a:pPr marL="285750" indent="-285750" algn="just" fontAlgn="base">
              <a:lnSpc>
                <a:spcPct val="100000"/>
              </a:lnSpc>
              <a:spcBef>
                <a:spcPts val="1800"/>
              </a:spcBef>
              <a:spcAft>
                <a:spcPct val="0"/>
              </a:spcAft>
              <a:buFont typeface="Wingdings" panose="05000000000000000000" pitchFamily="2" charset="2"/>
              <a:buChar char="§"/>
            </a:pPr>
            <a:r>
              <a:rPr lang="en-US" sz="1400" dirty="0">
                <a:solidFill>
                  <a:srgbClr val="002060"/>
                </a:solidFill>
                <a:latin typeface="Arial" charset="0"/>
                <a:ea typeface="MS PGothic"/>
              </a:rPr>
              <a:t>Expecting similar margins as the filtration business</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Tree>
    <p:extLst>
      <p:ext uri="{BB962C8B-B14F-4D97-AF65-F5344CB8AC3E}">
        <p14:creationId xmlns:p14="http://schemas.microsoft.com/office/powerpoint/2010/main" val="938503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42054"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256162" y="434293"/>
            <a:ext cx="5221360" cy="415499"/>
          </a:xfrm>
        </p:spPr>
        <p:txBody>
          <a:bodyPr/>
          <a:lstStyle/>
          <a:p>
            <a:r>
              <a:rPr lang="en-US" dirty="0"/>
              <a:t>Safe Harbor Statement</a:t>
            </a:r>
          </a:p>
        </p:txBody>
      </p:sp>
      <p:sp>
        <p:nvSpPr>
          <p:cNvPr id="4" name="Text Placeholder 3">
            <a:extLst>
              <a:ext uri="{FF2B5EF4-FFF2-40B4-BE49-F238E27FC236}">
                <a16:creationId xmlns:a16="http://schemas.microsoft.com/office/drawing/2014/main" id="{8F9B7FBF-B600-463E-B2CD-9606C60DBB26}"/>
              </a:ext>
            </a:extLst>
          </p:cNvPr>
          <p:cNvSpPr>
            <a:spLocks noGrp="1"/>
          </p:cNvSpPr>
          <p:nvPr>
            <p:ph type="body" sz="quarter" idx="14"/>
          </p:nvPr>
        </p:nvSpPr>
        <p:spPr>
          <a:xfrm>
            <a:off x="376656" y="1401342"/>
            <a:ext cx="8390688" cy="4418133"/>
          </a:xfrm>
        </p:spPr>
        <p:txBody>
          <a:bodyPr/>
          <a:lstStyle/>
          <a:p>
            <a:r>
              <a:rPr lang="en-US" sz="1100" b="0" dirty="0">
                <a:latin typeface="Arial" panose="020B0604020202020204" pitchFamily="34" charset="0"/>
                <a:cs typeface="Arial" panose="020B0604020202020204" pitchFamily="34" charset="0"/>
              </a:rPr>
              <a:t>Certain statements in this management presentation constitute “forward-looking statements.” Such statements include those regarding the efficacy and intended use of our technologies under development, the timelines and strategy for bringing such products to market, the availability of funding sources for continued development of such products, and other statements that are not historical facts, including statements that may be preceded by the words “intends,” “may,” “will,” “plans,” “expects,” “anticipates,” “projects,” “predicts,” “estimates,” “aims,” “believes,” “hopes,” “potential” or similar words. Forward-looking statements are not guarantees of future performance, are based on certain assumptions and are subject to various known and unknown risks and uncertainties, many of which are beyond our control. Actual results may differ materially from the expectations contained in the forward-looking statements. Factors that may cause such differences include, but are not limited to, that (</a:t>
            </a:r>
            <a:r>
              <a:rPr lang="en-US" sz="1100" b="0" dirty="0" err="1">
                <a:latin typeface="Arial" panose="020B0604020202020204" pitchFamily="34" charset="0"/>
                <a:cs typeface="Arial" panose="020B0604020202020204" pitchFamily="34" charset="0"/>
              </a:rPr>
              <a:t>i</a:t>
            </a:r>
            <a:r>
              <a:rPr lang="en-US" sz="1100" b="0" dirty="0">
                <a:latin typeface="Arial" panose="020B0604020202020204" pitchFamily="34" charset="0"/>
                <a:cs typeface="Arial" panose="020B0604020202020204" pitchFamily="34" charset="0"/>
              </a:rPr>
              <a:t>) we face significant challenges in obtaining market acceptance of our products, which could adversely affect our potential sales and revenues; (ii) product-related deaths or serious injuries or product malfunctions could trigger recalls, class action lawsuits and other events that could cause us to incur expenses and may also limit our ability to generate revenues from such products; (iii) we face potential liability associated with the production, marketing and sale of our products, and the expense of defending against claims of product liability could materially deplete our assets and generate negative publicity, which could impair our reputation; (iv) to the extent our products or marketing materials are found to violate any provisions of the U.S. Food, Drug and Cosmetic Act (the “FDC Act”) or any other statutes or regulations, we could be subject to enforcement actions by the U.S. Food and Drug Administration (the “FDA”) or other governmental agencies; (v) we may not be able to obtain funding if and when needed or on terms favorable to us in order to continue operations; (vi) we may not have sufficient capital to successfully implement our business plan; (vii) we may not be able to effectively market our products; (viii) we may not be able to sell our water filtration products or chronic renal failure therapy products at competitive prices or profitably; (ix) we may encounter problems with our suppliers, manufacturers and distributors; (x) we may encounter unanticipated internal control deficiencies or weaknesses or ineffective disclosure controls and procedures; (xi) we may not be able to obtain appropriate or necessary regulatory approvals to achieve our business plan; (xii) products that appeared promising to us in research or clinical trials may not demonstrate anticipated efficacy, safety or cost savings in subsequent pre-clinical or clinical trials; (xiii) we may not be able to secure or enforce adequate legal protection, including patent protection, for our products; (xiv) we may not be able to achieve sales growth in key geographic markets; and (xv) the effects of the Covid-19 pandemic may be more severe than we currently anticipate. More detailed information about us and the risk factors that may affect the realization of forward-looking statements, including the forward-looking statements in this management presentation, is set forth in our filings with the SEC, including our Annual Report on Form 10-K for the fiscal year ended December 31, 2019 and our other periodic reports filed with the SEC. We urge you to read those documents free of charge at the SEC’s web site at </a:t>
            </a:r>
            <a:r>
              <a:rPr lang="en-US" sz="1100" b="0" dirty="0" err="1">
                <a:latin typeface="Arial" panose="020B0604020202020204" pitchFamily="34" charset="0"/>
                <a:cs typeface="Arial" panose="020B0604020202020204" pitchFamily="34" charset="0"/>
              </a:rPr>
              <a:t>www.sec.gov</a:t>
            </a:r>
            <a:r>
              <a:rPr lang="en-US" sz="1100" b="0" dirty="0">
                <a:latin typeface="Arial" panose="020B0604020202020204" pitchFamily="34" charset="0"/>
                <a:cs typeface="Arial" panose="020B0604020202020204" pitchFamily="34" charset="0"/>
              </a:rPr>
              <a:t>. We do not undertake to publicly update or revise our forward-looking statements as a result of new information, future events or otherwise, except as required by law.</a:t>
            </a:r>
            <a:endParaRPr lang="en-US" sz="1100" b="0" dirty="0">
              <a:solidFill>
                <a:schemeClr val="accent5"/>
              </a:solidFill>
              <a:latin typeface="Arial" panose="020B0604020202020204" pitchFamily="34" charset="0"/>
              <a:ea typeface="MS PGothic" pitchFamily="34" charset="-128"/>
              <a:cs typeface="Arial" panose="020B0604020202020204" pitchFamily="34" charset="0"/>
            </a:endParaRP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a:defRPr/>
            </a:pPr>
            <a:fld id="{1703025F-5038-48A2-8F2E-D28A39FB9727}" type="slidenum">
              <a:rPr lang="en-US">
                <a:solidFill>
                  <a:prstClr val="white"/>
                </a:solidFill>
                <a:latin typeface="Calibri Regular"/>
              </a:rPr>
              <a:pPr>
                <a:defRPr/>
              </a:pPr>
              <a:t>2</a:t>
            </a:fld>
            <a:endParaRPr lang="en-US" dirty="0">
              <a:solidFill>
                <a:prstClr val="white"/>
              </a:solidFill>
              <a:latin typeface="Calibri Regular"/>
            </a:endParaRPr>
          </a:p>
        </p:txBody>
      </p:sp>
    </p:spTree>
    <p:extLst>
      <p:ext uri="{BB962C8B-B14F-4D97-AF65-F5344CB8AC3E}">
        <p14:creationId xmlns:p14="http://schemas.microsoft.com/office/powerpoint/2010/main" val="33024666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EEFFE1-B636-4444-B9CE-E7003D22EE7F}"/>
              </a:ext>
            </a:extLst>
          </p:cNvPr>
          <p:cNvSpPr>
            <a:spLocks noGrp="1"/>
          </p:cNvSpPr>
          <p:nvPr>
            <p:ph type="sldNum" sz="quarter" idx="12"/>
          </p:nvPr>
        </p:nvSpPr>
        <p:spPr/>
        <p:txBody>
          <a:bodyPr/>
          <a:lstStyle/>
          <a:p>
            <a:fld id="{1703025F-5038-48A2-8F2E-D28A39FB9727}" type="slidenum">
              <a:rPr lang="en-US" smtClean="0"/>
              <a:pPr/>
              <a:t>20</a:t>
            </a:fld>
            <a:endParaRPr lang="en-US" dirty="0"/>
          </a:p>
        </p:txBody>
      </p:sp>
      <p:sp>
        <p:nvSpPr>
          <p:cNvPr id="5" name="TextBox 4">
            <a:extLst>
              <a:ext uri="{FF2B5EF4-FFF2-40B4-BE49-F238E27FC236}">
                <a16:creationId xmlns:a16="http://schemas.microsoft.com/office/drawing/2014/main" id="{C20A9531-B889-401E-9CA3-499D4C32118F}"/>
              </a:ext>
            </a:extLst>
          </p:cNvPr>
          <p:cNvSpPr txBox="1"/>
          <p:nvPr/>
        </p:nvSpPr>
        <p:spPr>
          <a:xfrm>
            <a:off x="525626" y="5685460"/>
            <a:ext cx="8092755" cy="61555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2000" b="1" i="1" dirty="0">
                <a:solidFill>
                  <a:srgbClr val="280071"/>
                </a:solidFill>
                <a:latin typeface="Arial" panose="020B0604020202020204" pitchFamily="34" charset="0"/>
                <a:cs typeface="Arial" panose="020B0604020202020204" pitchFamily="34" charset="0"/>
              </a:rPr>
              <a:t>Transformation from a “water filter” company to a</a:t>
            </a:r>
            <a:br>
              <a:rPr lang="en-US" sz="2000" b="1" i="1" dirty="0">
                <a:solidFill>
                  <a:srgbClr val="280071"/>
                </a:solidFill>
                <a:latin typeface="Arial" panose="020B0604020202020204" pitchFamily="34" charset="0"/>
                <a:cs typeface="Arial" panose="020B0604020202020204" pitchFamily="34" charset="0"/>
              </a:rPr>
            </a:br>
            <a:r>
              <a:rPr lang="en-US" sz="2000" b="1" i="1" dirty="0">
                <a:solidFill>
                  <a:srgbClr val="280071"/>
                </a:solidFill>
                <a:latin typeface="Arial" panose="020B0604020202020204" pitchFamily="34" charset="0"/>
                <a:cs typeface="Arial" panose="020B0604020202020204" pitchFamily="34" charset="0"/>
              </a:rPr>
              <a:t>“water solutions” company</a:t>
            </a:r>
          </a:p>
        </p:txBody>
      </p:sp>
      <p:sp>
        <p:nvSpPr>
          <p:cNvPr id="7" name="Title 2">
            <a:extLst>
              <a:ext uri="{FF2B5EF4-FFF2-40B4-BE49-F238E27FC236}">
                <a16:creationId xmlns:a16="http://schemas.microsoft.com/office/drawing/2014/main" id="{7AA63145-D579-424A-92F0-2BFE7F3647E5}"/>
              </a:ext>
            </a:extLst>
          </p:cNvPr>
          <p:cNvSpPr>
            <a:spLocks noGrp="1"/>
          </p:cNvSpPr>
          <p:nvPr>
            <p:ph type="title"/>
          </p:nvPr>
        </p:nvSpPr>
        <p:spPr>
          <a:xfrm>
            <a:off x="185759" y="479399"/>
            <a:ext cx="7801527" cy="415498"/>
          </a:xfrm>
        </p:spPr>
        <p:txBody>
          <a:bodyPr/>
          <a:lstStyle/>
          <a:p>
            <a:r>
              <a:rPr lang="en-US" dirty="0"/>
              <a:t>Additional Pathogen Detection Launches</a:t>
            </a:r>
          </a:p>
        </p:txBody>
      </p:sp>
      <p:sp>
        <p:nvSpPr>
          <p:cNvPr id="8" name="Text Placeholder 3">
            <a:extLst>
              <a:ext uri="{FF2B5EF4-FFF2-40B4-BE49-F238E27FC236}">
                <a16:creationId xmlns:a16="http://schemas.microsoft.com/office/drawing/2014/main" id="{CD8CCAD9-E3CA-4675-A9E1-5AFA5C09F41E}"/>
              </a:ext>
            </a:extLst>
          </p:cNvPr>
          <p:cNvSpPr txBox="1">
            <a:spLocks/>
          </p:cNvSpPr>
          <p:nvPr/>
        </p:nvSpPr>
        <p:spPr>
          <a:xfrm>
            <a:off x="185759" y="1164087"/>
            <a:ext cx="8668465" cy="4154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400" dirty="0">
                <a:solidFill>
                  <a:srgbClr val="002060"/>
                </a:solidFill>
                <a:latin typeface="Arial" charset="0"/>
                <a:ea typeface="MS PGothic"/>
              </a:rPr>
              <a:t>Nephros will use its base pathogen detection technology to launch additional detection products</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
        <p:nvSpPr>
          <p:cNvPr id="9" name="Rectangle 8">
            <a:extLst>
              <a:ext uri="{FF2B5EF4-FFF2-40B4-BE49-F238E27FC236}">
                <a16:creationId xmlns:a16="http://schemas.microsoft.com/office/drawing/2014/main" id="{111A5309-BD6D-440A-A40C-681F59DFAD85}"/>
              </a:ext>
            </a:extLst>
          </p:cNvPr>
          <p:cNvSpPr/>
          <p:nvPr/>
        </p:nvSpPr>
        <p:spPr>
          <a:xfrm>
            <a:off x="185759" y="1975452"/>
            <a:ext cx="3816898" cy="365760"/>
          </a:xfrm>
          <a:prstGeom prst="rect">
            <a:avLst/>
          </a:prstGeom>
          <a:solidFill>
            <a:srgbClr val="0072C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alyPath™</a:t>
            </a:r>
          </a:p>
        </p:txBody>
      </p:sp>
      <p:sp>
        <p:nvSpPr>
          <p:cNvPr id="10" name="Rectangle 9">
            <a:extLst>
              <a:ext uri="{FF2B5EF4-FFF2-40B4-BE49-F238E27FC236}">
                <a16:creationId xmlns:a16="http://schemas.microsoft.com/office/drawing/2014/main" id="{8EE1B213-24E8-4EE9-9FC3-A9B8A9E94BC1}"/>
              </a:ext>
            </a:extLst>
          </p:cNvPr>
          <p:cNvSpPr/>
          <p:nvPr/>
        </p:nvSpPr>
        <p:spPr>
          <a:xfrm>
            <a:off x="4827917" y="1975452"/>
            <a:ext cx="3813048" cy="365760"/>
          </a:xfrm>
          <a:prstGeom prst="rect">
            <a:avLst/>
          </a:prstGeom>
          <a:solidFill>
            <a:srgbClr val="28007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quaPath™</a:t>
            </a:r>
          </a:p>
        </p:txBody>
      </p:sp>
      <p:sp>
        <p:nvSpPr>
          <p:cNvPr id="11" name="Text Placeholder 3">
            <a:extLst>
              <a:ext uri="{FF2B5EF4-FFF2-40B4-BE49-F238E27FC236}">
                <a16:creationId xmlns:a16="http://schemas.microsoft.com/office/drawing/2014/main" id="{11D9DF74-C0BF-4A7A-AB43-A81D1463264A}"/>
              </a:ext>
            </a:extLst>
          </p:cNvPr>
          <p:cNvSpPr txBox="1">
            <a:spLocks/>
          </p:cNvSpPr>
          <p:nvPr/>
        </p:nvSpPr>
        <p:spPr>
          <a:xfrm>
            <a:off x="185760" y="2694050"/>
            <a:ext cx="3816897" cy="184665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rPr>
              <a:t>Dialysis clinics much shut down when contaminated</a:t>
            </a: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rPr>
              <a:t>Current standard test (limulus amebocyte lysate (“LAL”)) routinely take over 48 – 72 hours and are shipped to a central laboratory</a:t>
            </a: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rPr>
              <a:t>DialyPath™ uses PluraPath™ technology and is able to test endotoxins in real-time (1 hour)</a:t>
            </a: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rPr>
              <a:t>Plan to launch DialyPath™ in Q2 2020</a:t>
            </a: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
        <p:nvSpPr>
          <p:cNvPr id="12" name="Text Placeholder 3">
            <a:extLst>
              <a:ext uri="{FF2B5EF4-FFF2-40B4-BE49-F238E27FC236}">
                <a16:creationId xmlns:a16="http://schemas.microsoft.com/office/drawing/2014/main" id="{FC5A855F-9C4B-4F79-AE54-F19AE6C1669C}"/>
              </a:ext>
            </a:extLst>
          </p:cNvPr>
          <p:cNvSpPr txBox="1">
            <a:spLocks/>
          </p:cNvSpPr>
          <p:nvPr/>
        </p:nvSpPr>
        <p:spPr>
          <a:xfrm>
            <a:off x="182888" y="2382192"/>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100" i="1" dirty="0">
                <a:solidFill>
                  <a:schemeClr val="bg2">
                    <a:lumMod val="50000"/>
                  </a:schemeClr>
                </a:solidFill>
                <a:latin typeface="Arial" charset="0"/>
                <a:ea typeface="MS PGothic"/>
              </a:rPr>
              <a:t>Entry into Dialysis Pathogen Detection</a:t>
            </a:r>
          </a:p>
        </p:txBody>
      </p:sp>
      <p:pic>
        <p:nvPicPr>
          <p:cNvPr id="147460" name="Picture 4" descr="Image result for check mark">
            <a:extLst>
              <a:ext uri="{FF2B5EF4-FFF2-40B4-BE49-F238E27FC236}">
                <a16:creationId xmlns:a16="http://schemas.microsoft.com/office/drawing/2014/main" id="{A5FD0C08-F951-417A-A27A-51BCBAA936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844" y="4531485"/>
            <a:ext cx="367073" cy="303610"/>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3">
            <a:extLst>
              <a:ext uri="{FF2B5EF4-FFF2-40B4-BE49-F238E27FC236}">
                <a16:creationId xmlns:a16="http://schemas.microsoft.com/office/drawing/2014/main" id="{2A405006-14C2-4BB6-B12F-00DDE1039460}"/>
              </a:ext>
            </a:extLst>
          </p:cNvPr>
          <p:cNvSpPr txBox="1">
            <a:spLocks/>
          </p:cNvSpPr>
          <p:nvPr/>
        </p:nvSpPr>
        <p:spPr>
          <a:xfrm>
            <a:off x="888648" y="4607277"/>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ct val="0"/>
              </a:spcBef>
              <a:spcAft>
                <a:spcPct val="0"/>
              </a:spcAft>
            </a:pPr>
            <a:r>
              <a:rPr lang="en-US" sz="1100" i="1" dirty="0">
                <a:solidFill>
                  <a:schemeClr val="bg2">
                    <a:lumMod val="50000"/>
                  </a:schemeClr>
                </a:solidFill>
                <a:latin typeface="Arial" charset="0"/>
                <a:ea typeface="MS PGothic"/>
              </a:rPr>
              <a:t>Reduction in time to results</a:t>
            </a:r>
          </a:p>
        </p:txBody>
      </p:sp>
      <p:pic>
        <p:nvPicPr>
          <p:cNvPr id="16" name="Picture 4" descr="Image result for check mark">
            <a:extLst>
              <a:ext uri="{FF2B5EF4-FFF2-40B4-BE49-F238E27FC236}">
                <a16:creationId xmlns:a16="http://schemas.microsoft.com/office/drawing/2014/main" id="{14E985D9-6613-421D-A6E7-AE68FCC36A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973" y="4813285"/>
            <a:ext cx="367073" cy="303610"/>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3">
            <a:extLst>
              <a:ext uri="{FF2B5EF4-FFF2-40B4-BE49-F238E27FC236}">
                <a16:creationId xmlns:a16="http://schemas.microsoft.com/office/drawing/2014/main" id="{692F0CA7-807C-4BA9-BD6C-E6DDAAB5D1B9}"/>
              </a:ext>
            </a:extLst>
          </p:cNvPr>
          <p:cNvSpPr txBox="1">
            <a:spLocks/>
          </p:cNvSpPr>
          <p:nvPr/>
        </p:nvSpPr>
        <p:spPr>
          <a:xfrm>
            <a:off x="885777" y="4889077"/>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ct val="0"/>
              </a:spcBef>
              <a:spcAft>
                <a:spcPct val="0"/>
              </a:spcAft>
            </a:pPr>
            <a:r>
              <a:rPr lang="en-US" sz="1100" i="1" dirty="0">
                <a:solidFill>
                  <a:schemeClr val="bg2">
                    <a:lumMod val="50000"/>
                  </a:schemeClr>
                </a:solidFill>
                <a:latin typeface="Arial" charset="0"/>
                <a:ea typeface="MS PGothic"/>
              </a:rPr>
              <a:t>Provide estimate of endotoxin levels equivalent to LAL</a:t>
            </a:r>
          </a:p>
        </p:txBody>
      </p:sp>
      <p:sp>
        <p:nvSpPr>
          <p:cNvPr id="18" name="Text Placeholder 3">
            <a:extLst>
              <a:ext uri="{FF2B5EF4-FFF2-40B4-BE49-F238E27FC236}">
                <a16:creationId xmlns:a16="http://schemas.microsoft.com/office/drawing/2014/main" id="{4C9F19ED-6B89-4D1E-ABD4-5C21380287B9}"/>
              </a:ext>
            </a:extLst>
          </p:cNvPr>
          <p:cNvSpPr txBox="1">
            <a:spLocks/>
          </p:cNvSpPr>
          <p:nvPr/>
        </p:nvSpPr>
        <p:spPr>
          <a:xfrm>
            <a:off x="4657107" y="2379319"/>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100" i="1" dirty="0">
                <a:solidFill>
                  <a:schemeClr val="bg2">
                    <a:lumMod val="50000"/>
                  </a:schemeClr>
                </a:solidFill>
                <a:latin typeface="Arial" charset="0"/>
                <a:ea typeface="MS PGothic"/>
              </a:rPr>
              <a:t>Entry into Biome Mapping Services</a:t>
            </a:r>
          </a:p>
        </p:txBody>
      </p:sp>
      <p:sp>
        <p:nvSpPr>
          <p:cNvPr id="19" name="Text Placeholder 3">
            <a:extLst>
              <a:ext uri="{FF2B5EF4-FFF2-40B4-BE49-F238E27FC236}">
                <a16:creationId xmlns:a16="http://schemas.microsoft.com/office/drawing/2014/main" id="{F96B91A7-E215-44D3-A6A2-C463D5DED47F}"/>
              </a:ext>
            </a:extLst>
          </p:cNvPr>
          <p:cNvSpPr txBox="1">
            <a:spLocks/>
          </p:cNvSpPr>
          <p:nvPr/>
        </p:nvSpPr>
        <p:spPr>
          <a:xfrm>
            <a:off x="4815264" y="2689438"/>
            <a:ext cx="3816897" cy="183127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rPr>
              <a:t>Ability to process 96 samples at once </a:t>
            </a:r>
            <a:endParaRPr lang="en-US" sz="1100" dirty="0">
              <a:solidFill>
                <a:srgbClr val="002060"/>
              </a:solidFill>
              <a:latin typeface="Arial" charset="0"/>
              <a:ea typeface="MS PGothic"/>
              <a:sym typeface="Wingdings" panose="05000000000000000000" pitchFamily="2" charset="2"/>
            </a:endParaRP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sym typeface="Wingdings" panose="05000000000000000000" pitchFamily="2" charset="2"/>
              </a:rPr>
              <a:t>Ability to recognize over 20,000 different bacteria references in one day</a:t>
            </a: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sym typeface="Wingdings" panose="05000000000000000000" pitchFamily="2" charset="2"/>
              </a:rPr>
              <a:t>Will offer this product as a service</a:t>
            </a:r>
          </a:p>
          <a:p>
            <a:pPr marL="285750" indent="-285750" algn="just" fontAlgn="base">
              <a:lnSpc>
                <a:spcPct val="100000"/>
              </a:lnSpc>
              <a:spcBef>
                <a:spcPts val="1200"/>
              </a:spcBef>
              <a:spcAft>
                <a:spcPct val="0"/>
              </a:spcAft>
              <a:buFont typeface="Wingdings" panose="05000000000000000000" pitchFamily="2" charset="2"/>
              <a:buChar char="§"/>
            </a:pPr>
            <a:r>
              <a:rPr lang="en-US" sz="1100" dirty="0">
                <a:solidFill>
                  <a:srgbClr val="002060"/>
                </a:solidFill>
                <a:latin typeface="Arial" charset="0"/>
                <a:ea typeface="MS PGothic"/>
                <a:sym typeface="Wingdings" panose="05000000000000000000" pitchFamily="2" charset="2"/>
              </a:rPr>
              <a:t>Expected launch in late 2020</a:t>
            </a:r>
          </a:p>
          <a:p>
            <a:pPr marL="285750" indent="-285750" algn="just" fontAlgn="base">
              <a:lnSpc>
                <a:spcPct val="100000"/>
              </a:lnSpc>
              <a:spcBef>
                <a:spcPts val="1200"/>
              </a:spcBef>
              <a:spcAft>
                <a:spcPct val="0"/>
              </a:spcAft>
              <a:buFont typeface="Wingdings" panose="05000000000000000000" pitchFamily="2" charset="2"/>
              <a:buChar char="§"/>
            </a:pPr>
            <a:endParaRPr lang="en-US" sz="1100" dirty="0">
              <a:solidFill>
                <a:srgbClr val="002060"/>
              </a:solidFill>
              <a:latin typeface="Arial" charset="0"/>
              <a:ea typeface="MS PGothic"/>
            </a:endParaRPr>
          </a:p>
          <a:p>
            <a:pPr marL="285750" indent="-285750" algn="just" fontAlgn="base">
              <a:lnSpc>
                <a:spcPct val="100000"/>
              </a:lnSpc>
              <a:spcBef>
                <a:spcPct val="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pic>
        <p:nvPicPr>
          <p:cNvPr id="20" name="Picture 4" descr="Image result for check mark">
            <a:extLst>
              <a:ext uri="{FF2B5EF4-FFF2-40B4-BE49-F238E27FC236}">
                <a16:creationId xmlns:a16="http://schemas.microsoft.com/office/drawing/2014/main" id="{0DB30558-1607-4E06-A882-6FC64ED5E0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415" y="5105645"/>
            <a:ext cx="367073" cy="303610"/>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3">
            <a:extLst>
              <a:ext uri="{FF2B5EF4-FFF2-40B4-BE49-F238E27FC236}">
                <a16:creationId xmlns:a16="http://schemas.microsoft.com/office/drawing/2014/main" id="{A012784F-042D-4AB7-8A41-EB5328EC2D26}"/>
              </a:ext>
            </a:extLst>
          </p:cNvPr>
          <p:cNvSpPr txBox="1">
            <a:spLocks/>
          </p:cNvSpPr>
          <p:nvPr/>
        </p:nvSpPr>
        <p:spPr>
          <a:xfrm>
            <a:off x="870219" y="5181437"/>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ct val="0"/>
              </a:spcBef>
              <a:spcAft>
                <a:spcPct val="0"/>
              </a:spcAft>
            </a:pPr>
            <a:r>
              <a:rPr lang="en-US" sz="1100" i="1" dirty="0">
                <a:solidFill>
                  <a:schemeClr val="bg2">
                    <a:lumMod val="50000"/>
                  </a:schemeClr>
                </a:solidFill>
                <a:latin typeface="Arial" charset="0"/>
                <a:ea typeface="MS PGothic"/>
              </a:rPr>
              <a:t>Provide estimated levels of 6 gram-negative bacteria</a:t>
            </a:r>
          </a:p>
        </p:txBody>
      </p:sp>
      <p:pic>
        <p:nvPicPr>
          <p:cNvPr id="22" name="Picture 4" descr="Image result for check mark">
            <a:extLst>
              <a:ext uri="{FF2B5EF4-FFF2-40B4-BE49-F238E27FC236}">
                <a16:creationId xmlns:a16="http://schemas.microsoft.com/office/drawing/2014/main" id="{BCC4C73B-7B51-45F8-8314-8077666CC2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9988" y="4531485"/>
            <a:ext cx="367073" cy="303610"/>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3">
            <a:extLst>
              <a:ext uri="{FF2B5EF4-FFF2-40B4-BE49-F238E27FC236}">
                <a16:creationId xmlns:a16="http://schemas.microsoft.com/office/drawing/2014/main" id="{4F26736E-5834-4FC2-BCA0-0B3FD9575AD4}"/>
              </a:ext>
            </a:extLst>
          </p:cNvPr>
          <p:cNvSpPr txBox="1">
            <a:spLocks/>
          </p:cNvSpPr>
          <p:nvPr/>
        </p:nvSpPr>
        <p:spPr>
          <a:xfrm>
            <a:off x="5125792" y="4607277"/>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ct val="0"/>
              </a:spcBef>
              <a:spcAft>
                <a:spcPct val="0"/>
              </a:spcAft>
            </a:pPr>
            <a:r>
              <a:rPr lang="en-US" sz="1100" i="1" dirty="0">
                <a:solidFill>
                  <a:schemeClr val="bg2">
                    <a:lumMod val="50000"/>
                  </a:schemeClr>
                </a:solidFill>
                <a:latin typeface="Arial" charset="0"/>
                <a:ea typeface="MS PGothic"/>
              </a:rPr>
              <a:t>Full building biome map</a:t>
            </a:r>
          </a:p>
        </p:txBody>
      </p:sp>
      <p:pic>
        <p:nvPicPr>
          <p:cNvPr id="24" name="Picture 4" descr="Image result for check mark">
            <a:extLst>
              <a:ext uri="{FF2B5EF4-FFF2-40B4-BE49-F238E27FC236}">
                <a16:creationId xmlns:a16="http://schemas.microsoft.com/office/drawing/2014/main" id="{E917E0D2-D466-47EF-ADED-9B12AB1FD4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7117" y="4813285"/>
            <a:ext cx="367073" cy="303610"/>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3">
            <a:extLst>
              <a:ext uri="{FF2B5EF4-FFF2-40B4-BE49-F238E27FC236}">
                <a16:creationId xmlns:a16="http://schemas.microsoft.com/office/drawing/2014/main" id="{8109556A-EB3D-4FE5-B392-99EE1DEB2F81}"/>
              </a:ext>
            </a:extLst>
          </p:cNvPr>
          <p:cNvSpPr txBox="1">
            <a:spLocks/>
          </p:cNvSpPr>
          <p:nvPr/>
        </p:nvSpPr>
        <p:spPr>
          <a:xfrm>
            <a:off x="5122921" y="4889077"/>
            <a:ext cx="3816898" cy="16927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lnSpc>
                <a:spcPct val="100000"/>
              </a:lnSpc>
              <a:spcBef>
                <a:spcPct val="0"/>
              </a:spcBef>
              <a:spcAft>
                <a:spcPct val="0"/>
              </a:spcAft>
            </a:pPr>
            <a:r>
              <a:rPr lang="en-US" sz="1100" i="1" dirty="0">
                <a:solidFill>
                  <a:schemeClr val="bg2">
                    <a:lumMod val="50000"/>
                  </a:schemeClr>
                </a:solidFill>
                <a:latin typeface="Arial" charset="0"/>
                <a:ea typeface="MS PGothic"/>
              </a:rPr>
              <a:t>Provides estimated levels of ANY known bacteria</a:t>
            </a:r>
          </a:p>
        </p:txBody>
      </p:sp>
    </p:spTree>
    <p:extLst>
      <p:ext uri="{BB962C8B-B14F-4D97-AF65-F5344CB8AC3E}">
        <p14:creationId xmlns:p14="http://schemas.microsoft.com/office/powerpoint/2010/main" val="1537164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951E58-D6E7-41DA-A544-124D43AF75F7}"/>
              </a:ext>
            </a:extLst>
          </p:cNvPr>
          <p:cNvPicPr>
            <a:picLocks noChangeAspect="1"/>
          </p:cNvPicPr>
          <p:nvPr/>
        </p:nvPicPr>
        <p:blipFill>
          <a:blip r:embed="rId2"/>
          <a:stretch>
            <a:fillRect/>
          </a:stretch>
        </p:blipFill>
        <p:spPr>
          <a:xfrm>
            <a:off x="7488858" y="5328671"/>
            <a:ext cx="1307376" cy="1375263"/>
          </a:xfrm>
          <a:prstGeom prst="rect">
            <a:avLst/>
          </a:prstGeom>
        </p:spPr>
      </p:pic>
      <p:sp>
        <p:nvSpPr>
          <p:cNvPr id="5" name="Right Triangle 4">
            <a:extLst>
              <a:ext uri="{FF2B5EF4-FFF2-40B4-BE49-F238E27FC236}">
                <a16:creationId xmlns:a16="http://schemas.microsoft.com/office/drawing/2014/main" id="{71ADF420-B0F6-4295-9270-369BB75D9245}"/>
              </a:ext>
            </a:extLst>
          </p:cNvPr>
          <p:cNvSpPr/>
          <p:nvPr/>
        </p:nvSpPr>
        <p:spPr>
          <a:xfrm rot="5400000">
            <a:off x="39949" y="-39949"/>
            <a:ext cx="4181385" cy="4261285"/>
          </a:xfrm>
          <a:prstGeom prst="rtTriangle">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Regular"/>
              <a:ea typeface="+mn-ea"/>
              <a:cs typeface="+mn-cs"/>
            </a:endParaRPr>
          </a:p>
        </p:txBody>
      </p:sp>
      <p:sp>
        <p:nvSpPr>
          <p:cNvPr id="6" name="Right Triangle 5">
            <a:extLst>
              <a:ext uri="{FF2B5EF4-FFF2-40B4-BE49-F238E27FC236}">
                <a16:creationId xmlns:a16="http://schemas.microsoft.com/office/drawing/2014/main" id="{EB9FAA34-6B0E-4B9B-A71A-D263E327FCF8}"/>
              </a:ext>
            </a:extLst>
          </p:cNvPr>
          <p:cNvSpPr/>
          <p:nvPr/>
        </p:nvSpPr>
        <p:spPr>
          <a:xfrm>
            <a:off x="0" y="5482736"/>
            <a:ext cx="985421" cy="1375264"/>
          </a:xfrm>
          <a:prstGeom prst="r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Regular"/>
              <a:ea typeface="+mn-ea"/>
              <a:cs typeface="+mn-cs"/>
            </a:endParaRPr>
          </a:p>
        </p:txBody>
      </p:sp>
      <p:pic>
        <p:nvPicPr>
          <p:cNvPr id="19" name="Picture 18" descr="A picture containing object&#10;&#10;Description automatically generated">
            <a:extLst>
              <a:ext uri="{FF2B5EF4-FFF2-40B4-BE49-F238E27FC236}">
                <a16:creationId xmlns:a16="http://schemas.microsoft.com/office/drawing/2014/main" id="{4DADCD2D-9BFF-4A23-BF9C-89A91FF2B4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05265" y="363653"/>
            <a:ext cx="1269507" cy="371271"/>
          </a:xfrm>
          <a:prstGeom prst="rect">
            <a:avLst/>
          </a:prstGeom>
        </p:spPr>
      </p:pic>
      <p:sp>
        <p:nvSpPr>
          <p:cNvPr id="21" name="TextBox 20">
            <a:extLst>
              <a:ext uri="{FF2B5EF4-FFF2-40B4-BE49-F238E27FC236}">
                <a16:creationId xmlns:a16="http://schemas.microsoft.com/office/drawing/2014/main" id="{17835F59-BAAC-4737-8AFA-7419F1EACB20}"/>
              </a:ext>
            </a:extLst>
          </p:cNvPr>
          <p:cNvSpPr txBox="1"/>
          <p:nvPr/>
        </p:nvSpPr>
        <p:spPr>
          <a:xfrm>
            <a:off x="1582444" y="2813447"/>
            <a:ext cx="5979111" cy="123110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lvl="0" algn="ctr"/>
            <a:r>
              <a:rPr lang="en-US" sz="4000" dirty="0">
                <a:solidFill>
                  <a:srgbClr val="280071"/>
                </a:solidFill>
                <a:latin typeface="Arial Black" panose="020B0A04020102020204" pitchFamily="34" charset="0"/>
                <a:ea typeface="+mj-ea"/>
                <a:cs typeface="+mj-cs"/>
              </a:rPr>
              <a:t>Specialty Renal Products, Inc. (SRP)</a:t>
            </a:r>
            <a:endParaRPr kumimoji="0" lang="en-US" sz="4400" b="0" i="0" u="none" strike="noStrike" kern="1200" cap="none" spc="0" normalizeH="0" baseline="0" noProof="0" dirty="0">
              <a:ln>
                <a:noFill/>
              </a:ln>
              <a:solidFill>
                <a:srgbClr val="280071"/>
              </a:solidFill>
              <a:effectLst/>
              <a:uLnTx/>
              <a:uFillTx/>
              <a:latin typeface="Arial Black" panose="020B0A04020102020204" pitchFamily="34" charset="0"/>
            </a:endParaRPr>
          </a:p>
        </p:txBody>
      </p:sp>
    </p:spTree>
    <p:extLst>
      <p:ext uri="{BB962C8B-B14F-4D97-AF65-F5344CB8AC3E}">
        <p14:creationId xmlns:p14="http://schemas.microsoft.com/office/powerpoint/2010/main" val="39793546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427C5-6DD9-A649-BBA7-5CA15E7646D0}"/>
              </a:ext>
            </a:extLst>
          </p:cNvPr>
          <p:cNvSpPr>
            <a:spLocks noGrp="1"/>
          </p:cNvSpPr>
          <p:nvPr>
            <p:ph type="title"/>
          </p:nvPr>
        </p:nvSpPr>
        <p:spPr>
          <a:xfrm>
            <a:off x="1151068" y="356168"/>
            <a:ext cx="6807070" cy="415498"/>
          </a:xfrm>
        </p:spPr>
        <p:txBody>
          <a:bodyPr/>
          <a:lstStyle/>
          <a:p>
            <a:r>
              <a:rPr lang="en-US" dirty="0"/>
              <a:t>Specialty Renal Products </a:t>
            </a:r>
          </a:p>
        </p:txBody>
      </p:sp>
      <p:sp>
        <p:nvSpPr>
          <p:cNvPr id="3" name="Slide Number Placeholder 2">
            <a:extLst>
              <a:ext uri="{FF2B5EF4-FFF2-40B4-BE49-F238E27FC236}">
                <a16:creationId xmlns:a16="http://schemas.microsoft.com/office/drawing/2014/main" id="{1F4D17C5-4C14-A94D-98E0-3EC0F56FDB26}"/>
              </a:ext>
            </a:extLst>
          </p:cNvPr>
          <p:cNvSpPr>
            <a:spLocks noGrp="1"/>
          </p:cNvSpPr>
          <p:nvPr>
            <p:ph type="sldNum" sz="quarter" idx="12"/>
          </p:nvPr>
        </p:nvSpPr>
        <p:spPr/>
        <p:txBody>
          <a:bodyPr/>
          <a:lstStyle/>
          <a:p>
            <a:fld id="{1703025F-5038-48A2-8F2E-D28A39FB9727}" type="slidenum">
              <a:rPr lang="en-US" smtClean="0"/>
              <a:pPr/>
              <a:t>22</a:t>
            </a:fld>
            <a:endParaRPr lang="en-US" dirty="0"/>
          </a:p>
        </p:txBody>
      </p:sp>
      <p:sp>
        <p:nvSpPr>
          <p:cNvPr id="4" name="Text Placeholder 3">
            <a:extLst>
              <a:ext uri="{FF2B5EF4-FFF2-40B4-BE49-F238E27FC236}">
                <a16:creationId xmlns:a16="http://schemas.microsoft.com/office/drawing/2014/main" id="{E370E3AC-445B-0047-84DD-3B31E96CE823}"/>
              </a:ext>
            </a:extLst>
          </p:cNvPr>
          <p:cNvSpPr>
            <a:spLocks noGrp="1"/>
          </p:cNvSpPr>
          <p:nvPr>
            <p:ph type="body" sz="quarter" idx="14"/>
          </p:nvPr>
        </p:nvSpPr>
        <p:spPr>
          <a:xfrm>
            <a:off x="156611" y="1206634"/>
            <a:ext cx="8664659" cy="1530675"/>
          </a:xfrm>
        </p:spPr>
        <p:txBody>
          <a:bodyPr/>
          <a:lstStyle/>
          <a:p>
            <a:r>
              <a:rPr lang="en-US" sz="1800" dirty="0"/>
              <a:t>SRP Organizational Objective: </a:t>
            </a:r>
          </a:p>
          <a:p>
            <a:r>
              <a:rPr lang="en-US" sz="1800" b="0" dirty="0"/>
              <a:t>Develop, Launch, and Market a tool to arm the clinician with the ability to safely and easily implement Hemodiafiltration (HFD) into the course of care for patients with end stage renal disease. </a:t>
            </a:r>
          </a:p>
          <a:p>
            <a:endParaRPr lang="en-US" dirty="0"/>
          </a:p>
        </p:txBody>
      </p:sp>
      <p:grpSp>
        <p:nvGrpSpPr>
          <p:cNvPr id="5" name="Group 4">
            <a:extLst>
              <a:ext uri="{FF2B5EF4-FFF2-40B4-BE49-F238E27FC236}">
                <a16:creationId xmlns:a16="http://schemas.microsoft.com/office/drawing/2014/main" id="{811A0B75-0455-8C4C-8476-CBACE1E10ABA}"/>
              </a:ext>
            </a:extLst>
          </p:cNvPr>
          <p:cNvGrpSpPr/>
          <p:nvPr/>
        </p:nvGrpSpPr>
        <p:grpSpPr>
          <a:xfrm>
            <a:off x="452844" y="2574604"/>
            <a:ext cx="4985544" cy="3623951"/>
            <a:chOff x="4447441" y="2623033"/>
            <a:chExt cx="4985544" cy="3623951"/>
          </a:xfrm>
        </p:grpSpPr>
        <p:sp>
          <p:nvSpPr>
            <p:cNvPr id="11" name="Text Placeholder 3">
              <a:extLst>
                <a:ext uri="{FF2B5EF4-FFF2-40B4-BE49-F238E27FC236}">
                  <a16:creationId xmlns:a16="http://schemas.microsoft.com/office/drawing/2014/main" id="{3B1892A2-A7C4-EE47-875B-665425C06F4A}"/>
                </a:ext>
              </a:extLst>
            </p:cNvPr>
            <p:cNvSpPr txBox="1">
              <a:spLocks/>
            </p:cNvSpPr>
            <p:nvPr/>
          </p:nvSpPr>
          <p:spPr>
            <a:xfrm>
              <a:off x="6304811" y="4024540"/>
              <a:ext cx="1270803" cy="115313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dirty="0"/>
                <a:t>SRP HDF Gen-2 Clinical Value</a:t>
              </a:r>
            </a:p>
            <a:p>
              <a:pPr marL="342900" indent="-342900" algn="ctr">
                <a:buFont typeface="Arial" panose="020B0604020202020204" pitchFamily="34" charset="0"/>
                <a:buChar char="•"/>
              </a:pPr>
              <a:endParaRPr lang="en-US" dirty="0"/>
            </a:p>
          </p:txBody>
        </p:sp>
        <p:graphicFrame>
          <p:nvGraphicFramePr>
            <p:cNvPr id="13" name="Diagram 12">
              <a:extLst>
                <a:ext uri="{FF2B5EF4-FFF2-40B4-BE49-F238E27FC236}">
                  <a16:creationId xmlns:a16="http://schemas.microsoft.com/office/drawing/2014/main" id="{B7F9416A-C7DC-D942-9A5A-4EC8461C2690}"/>
                </a:ext>
              </a:extLst>
            </p:cNvPr>
            <p:cNvGraphicFramePr/>
            <p:nvPr/>
          </p:nvGraphicFramePr>
          <p:xfrm>
            <a:off x="4447441" y="2623033"/>
            <a:ext cx="4985544" cy="36239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pic>
        <p:nvPicPr>
          <p:cNvPr id="14" name="Picture 13">
            <a:extLst>
              <a:ext uri="{FF2B5EF4-FFF2-40B4-BE49-F238E27FC236}">
                <a16:creationId xmlns:a16="http://schemas.microsoft.com/office/drawing/2014/main" id="{6D6FA192-EB32-D441-BD9C-6D11EB647A3D}"/>
              </a:ext>
            </a:extLst>
          </p:cNvPr>
          <p:cNvPicPr>
            <a:picLocks noChangeAspect="1"/>
          </p:cNvPicPr>
          <p:nvPr/>
        </p:nvPicPr>
        <p:blipFill>
          <a:blip r:embed="rId7"/>
          <a:stretch>
            <a:fillRect/>
          </a:stretch>
        </p:blipFill>
        <p:spPr>
          <a:xfrm>
            <a:off x="156611" y="250400"/>
            <a:ext cx="768028" cy="646307"/>
          </a:xfrm>
          <a:prstGeom prst="rect">
            <a:avLst/>
          </a:prstGeom>
        </p:spPr>
      </p:pic>
      <p:pic>
        <p:nvPicPr>
          <p:cNvPr id="17" name="Picture 16">
            <a:extLst>
              <a:ext uri="{FF2B5EF4-FFF2-40B4-BE49-F238E27FC236}">
                <a16:creationId xmlns:a16="http://schemas.microsoft.com/office/drawing/2014/main" id="{CF758727-7A0E-9C4B-83E9-DF67D95E21C0}"/>
              </a:ext>
            </a:extLst>
          </p:cNvPr>
          <p:cNvPicPr>
            <a:picLocks noChangeAspect="1"/>
          </p:cNvPicPr>
          <p:nvPr/>
        </p:nvPicPr>
        <p:blipFill>
          <a:blip r:embed="rId8"/>
          <a:stretch>
            <a:fillRect/>
          </a:stretch>
        </p:blipFill>
        <p:spPr>
          <a:xfrm>
            <a:off x="5609799" y="2656720"/>
            <a:ext cx="2645200" cy="3765066"/>
          </a:xfrm>
          <a:prstGeom prst="rect">
            <a:avLst/>
          </a:prstGeom>
        </p:spPr>
      </p:pic>
      <p:sp>
        <p:nvSpPr>
          <p:cNvPr id="15" name="Text Placeholder 3">
            <a:extLst>
              <a:ext uri="{FF2B5EF4-FFF2-40B4-BE49-F238E27FC236}">
                <a16:creationId xmlns:a16="http://schemas.microsoft.com/office/drawing/2014/main" id="{C6761AE6-4603-1041-B21C-1EA73A371337}"/>
              </a:ext>
            </a:extLst>
          </p:cNvPr>
          <p:cNvSpPr txBox="1">
            <a:spLocks/>
          </p:cNvSpPr>
          <p:nvPr/>
        </p:nvSpPr>
        <p:spPr>
          <a:xfrm>
            <a:off x="5503071" y="2337794"/>
            <a:ext cx="2858655" cy="2492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800" dirty="0"/>
              <a:t>SRP HDF Gen 2</a:t>
            </a:r>
          </a:p>
        </p:txBody>
      </p:sp>
    </p:spTree>
    <p:extLst>
      <p:ext uri="{BB962C8B-B14F-4D97-AF65-F5344CB8AC3E}">
        <p14:creationId xmlns:p14="http://schemas.microsoft.com/office/powerpoint/2010/main" val="42678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F4D17C5-4C14-A94D-98E0-3EC0F56FDB26}"/>
              </a:ext>
            </a:extLst>
          </p:cNvPr>
          <p:cNvSpPr>
            <a:spLocks noGrp="1"/>
          </p:cNvSpPr>
          <p:nvPr>
            <p:ph type="sldNum" sz="quarter" idx="12"/>
          </p:nvPr>
        </p:nvSpPr>
        <p:spPr>
          <a:xfrm>
            <a:off x="185759" y="6673334"/>
            <a:ext cx="267085" cy="184666"/>
          </a:xfrm>
        </p:spPr>
        <p:txBody>
          <a:bodyPr/>
          <a:lstStyle/>
          <a:p>
            <a:fld id="{1703025F-5038-48A2-8F2E-D28A39FB9727}" type="slidenum">
              <a:rPr lang="en-US" smtClean="0"/>
              <a:pPr/>
              <a:t>23</a:t>
            </a:fld>
            <a:endParaRPr lang="en-US" dirty="0"/>
          </a:p>
        </p:txBody>
      </p:sp>
      <p:sp>
        <p:nvSpPr>
          <p:cNvPr id="4" name="Text Placeholder 3">
            <a:extLst>
              <a:ext uri="{FF2B5EF4-FFF2-40B4-BE49-F238E27FC236}">
                <a16:creationId xmlns:a16="http://schemas.microsoft.com/office/drawing/2014/main" id="{E370E3AC-445B-0047-84DD-3B31E96CE823}"/>
              </a:ext>
            </a:extLst>
          </p:cNvPr>
          <p:cNvSpPr>
            <a:spLocks noGrp="1"/>
          </p:cNvSpPr>
          <p:nvPr>
            <p:ph type="body" sz="quarter" idx="14"/>
          </p:nvPr>
        </p:nvSpPr>
        <p:spPr>
          <a:xfrm>
            <a:off x="143317" y="1207914"/>
            <a:ext cx="8505398" cy="3947747"/>
          </a:xfrm>
        </p:spPr>
        <p:txBody>
          <a:bodyPr/>
          <a:lstStyle/>
          <a:p>
            <a:r>
              <a:rPr lang="en-US" sz="1800" dirty="0"/>
              <a:t>Pathway to Success:</a:t>
            </a:r>
          </a:p>
          <a:p>
            <a:pPr marL="342900" indent="-342900">
              <a:lnSpc>
                <a:spcPct val="100000"/>
              </a:lnSpc>
              <a:spcBef>
                <a:spcPts val="0"/>
              </a:spcBef>
              <a:buFont typeface="+mj-lt"/>
              <a:buAutoNum type="arabicPeriod"/>
            </a:pPr>
            <a:r>
              <a:rPr lang="en-US" sz="1600" b="0" dirty="0"/>
              <a:t>Develop Improved HDF System (Safe &amp; Effective)</a:t>
            </a:r>
          </a:p>
          <a:p>
            <a:pPr marL="342900" indent="-342900">
              <a:lnSpc>
                <a:spcPct val="100000"/>
              </a:lnSpc>
              <a:spcBef>
                <a:spcPts val="0"/>
              </a:spcBef>
              <a:buFont typeface="+mj-lt"/>
              <a:buAutoNum type="arabicPeriod"/>
            </a:pPr>
            <a:r>
              <a:rPr lang="en-US" sz="1600" b="0" dirty="0"/>
              <a:t>Obtain Regulatory Clearance (Special 510k)</a:t>
            </a:r>
          </a:p>
          <a:p>
            <a:pPr marL="342900" indent="-342900">
              <a:lnSpc>
                <a:spcPct val="100000"/>
              </a:lnSpc>
              <a:spcBef>
                <a:spcPts val="0"/>
              </a:spcBef>
              <a:buFont typeface="+mj-lt"/>
              <a:buAutoNum type="arabicPeriod"/>
            </a:pPr>
            <a:r>
              <a:rPr lang="en-US" sz="1600" b="0" dirty="0"/>
              <a:t>Manufacture HDF System (Cost-Effective)</a:t>
            </a:r>
          </a:p>
          <a:p>
            <a:pPr marL="342900" indent="-342900">
              <a:lnSpc>
                <a:spcPct val="100000"/>
              </a:lnSpc>
              <a:spcBef>
                <a:spcPts val="0"/>
              </a:spcBef>
              <a:buFont typeface="+mj-lt"/>
              <a:buAutoNum type="arabicPeriod"/>
            </a:pPr>
            <a:r>
              <a:rPr lang="en-US" sz="1600" b="0" dirty="0"/>
              <a:t>Educate Industry (Clinical Value)</a:t>
            </a:r>
          </a:p>
          <a:p>
            <a:pPr>
              <a:lnSpc>
                <a:spcPct val="100000"/>
              </a:lnSpc>
              <a:spcBef>
                <a:spcPts val="0"/>
              </a:spcBef>
            </a:pPr>
            <a:endParaRPr lang="en-US" sz="1800" b="0" dirty="0"/>
          </a:p>
          <a:p>
            <a:pPr>
              <a:lnSpc>
                <a:spcPct val="100000"/>
              </a:lnSpc>
              <a:spcBef>
                <a:spcPts val="0"/>
              </a:spcBef>
            </a:pPr>
            <a:r>
              <a:rPr lang="en-US" sz="1800" dirty="0"/>
              <a:t>Status Update / Next Steps:</a:t>
            </a:r>
          </a:p>
          <a:p>
            <a:pPr marL="285750" indent="-285750">
              <a:lnSpc>
                <a:spcPct val="100000"/>
              </a:lnSpc>
              <a:spcBef>
                <a:spcPts val="0"/>
              </a:spcBef>
              <a:buFont typeface="Arial" panose="020B0604020202020204" pitchFamily="34" charset="0"/>
              <a:buChar char="•"/>
            </a:pPr>
            <a:r>
              <a:rPr lang="en-US" sz="1600" b="0" dirty="0"/>
              <a:t>Clear Operational Strategy</a:t>
            </a:r>
          </a:p>
          <a:p>
            <a:pPr marL="285750" indent="-285750">
              <a:lnSpc>
                <a:spcPct val="100000"/>
              </a:lnSpc>
              <a:spcBef>
                <a:spcPts val="0"/>
              </a:spcBef>
              <a:buFont typeface="Arial" panose="020B0604020202020204" pitchFamily="34" charset="0"/>
              <a:buChar char="•"/>
            </a:pPr>
            <a:r>
              <a:rPr lang="en-US" sz="1600" b="0" dirty="0"/>
              <a:t>Finalized Design of HDF Device</a:t>
            </a:r>
          </a:p>
          <a:p>
            <a:pPr marL="285750" indent="-285750">
              <a:lnSpc>
                <a:spcPct val="100000"/>
              </a:lnSpc>
              <a:spcBef>
                <a:spcPts val="0"/>
              </a:spcBef>
              <a:buFont typeface="Arial" panose="020B0604020202020204" pitchFamily="34" charset="0"/>
              <a:buChar char="•"/>
            </a:pPr>
            <a:r>
              <a:rPr lang="en-US" sz="1600" b="0" dirty="0"/>
              <a:t>Critical Relationships in Place</a:t>
            </a:r>
          </a:p>
          <a:p>
            <a:pPr marL="285750" indent="-285750">
              <a:lnSpc>
                <a:spcPct val="100000"/>
              </a:lnSpc>
              <a:spcBef>
                <a:spcPts val="0"/>
              </a:spcBef>
              <a:buFont typeface="Arial" panose="020B0604020202020204" pitchFamily="34" charset="0"/>
              <a:buChar char="•"/>
            </a:pPr>
            <a:r>
              <a:rPr lang="en-US" sz="1600" b="0" dirty="0"/>
              <a:t>Defined Regulatory Pathway</a:t>
            </a:r>
          </a:p>
          <a:p>
            <a:pPr marL="285750" indent="-285750">
              <a:lnSpc>
                <a:spcPct val="100000"/>
              </a:lnSpc>
              <a:spcBef>
                <a:spcPts val="0"/>
              </a:spcBef>
              <a:buFont typeface="Arial" panose="020B0604020202020204" pitchFamily="34" charset="0"/>
              <a:buChar char="•"/>
            </a:pPr>
            <a:r>
              <a:rPr lang="en-US" sz="1600" b="0" dirty="0"/>
              <a:t>Framework for Clinical Substantiation and Go-to-Market Strategy</a:t>
            </a:r>
          </a:p>
          <a:p>
            <a:pPr>
              <a:lnSpc>
                <a:spcPct val="100000"/>
              </a:lnSpc>
              <a:spcBef>
                <a:spcPts val="0"/>
              </a:spcBef>
            </a:pPr>
            <a:r>
              <a:rPr lang="en-US" sz="1600" b="0" dirty="0"/>
              <a:t> </a:t>
            </a:r>
          </a:p>
          <a:p>
            <a:pPr>
              <a:lnSpc>
                <a:spcPct val="100000"/>
              </a:lnSpc>
              <a:spcBef>
                <a:spcPts val="0"/>
              </a:spcBef>
            </a:pPr>
            <a:endParaRPr lang="en-US" sz="1800" b="0" dirty="0"/>
          </a:p>
          <a:p>
            <a:pPr marL="342900" indent="-342900">
              <a:buFont typeface="Arial" panose="020B0604020202020204" pitchFamily="34" charset="0"/>
              <a:buChar char="•"/>
            </a:pPr>
            <a:endParaRPr lang="en-US" dirty="0"/>
          </a:p>
        </p:txBody>
      </p:sp>
      <p:sp>
        <p:nvSpPr>
          <p:cNvPr id="6" name="Right Arrow 5">
            <a:extLst>
              <a:ext uri="{FF2B5EF4-FFF2-40B4-BE49-F238E27FC236}">
                <a16:creationId xmlns:a16="http://schemas.microsoft.com/office/drawing/2014/main" id="{92EBAC8D-B37C-FD4D-876A-B3BE922BB22E}"/>
              </a:ext>
            </a:extLst>
          </p:cNvPr>
          <p:cNvSpPr/>
          <p:nvPr/>
        </p:nvSpPr>
        <p:spPr>
          <a:xfrm>
            <a:off x="319301" y="4433378"/>
            <a:ext cx="8329414" cy="777241"/>
          </a:xfrm>
          <a:prstGeom prst="rightArrow">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Diagram 4">
            <a:extLst>
              <a:ext uri="{FF2B5EF4-FFF2-40B4-BE49-F238E27FC236}">
                <a16:creationId xmlns:a16="http://schemas.microsoft.com/office/drawing/2014/main" id="{E1985E88-91EE-FD4E-9786-2A38599C0415}"/>
              </a:ext>
            </a:extLst>
          </p:cNvPr>
          <p:cNvGraphicFramePr/>
          <p:nvPr/>
        </p:nvGraphicFramePr>
        <p:xfrm>
          <a:off x="319301" y="4861734"/>
          <a:ext cx="8625647" cy="1715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 Placeholder 3">
            <a:extLst>
              <a:ext uri="{FF2B5EF4-FFF2-40B4-BE49-F238E27FC236}">
                <a16:creationId xmlns:a16="http://schemas.microsoft.com/office/drawing/2014/main" id="{207A74CA-821B-134F-8404-A8DB5292BC2B}"/>
              </a:ext>
            </a:extLst>
          </p:cNvPr>
          <p:cNvSpPr txBox="1">
            <a:spLocks/>
          </p:cNvSpPr>
          <p:nvPr/>
        </p:nvSpPr>
        <p:spPr>
          <a:xfrm>
            <a:off x="430068" y="4738898"/>
            <a:ext cx="8283862" cy="1661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2019----------I I----------------------------------------- 2020 -----------------------------------------I I-------------------2021------------</a:t>
            </a:r>
          </a:p>
        </p:txBody>
      </p:sp>
      <p:sp>
        <p:nvSpPr>
          <p:cNvPr id="8" name="Text Placeholder 3">
            <a:extLst>
              <a:ext uri="{FF2B5EF4-FFF2-40B4-BE49-F238E27FC236}">
                <a16:creationId xmlns:a16="http://schemas.microsoft.com/office/drawing/2014/main" id="{F8B0080F-BFA4-ED46-AFF8-F3BB12CA769B}"/>
              </a:ext>
            </a:extLst>
          </p:cNvPr>
          <p:cNvSpPr txBox="1">
            <a:spLocks/>
          </p:cNvSpPr>
          <p:nvPr/>
        </p:nvSpPr>
        <p:spPr>
          <a:xfrm>
            <a:off x="185759" y="4430257"/>
            <a:ext cx="8283862" cy="1661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dirty="0"/>
              <a:t>Targeted Timeline</a:t>
            </a:r>
          </a:p>
        </p:txBody>
      </p:sp>
      <p:sp>
        <p:nvSpPr>
          <p:cNvPr id="9" name="Text Placeholder 3">
            <a:extLst>
              <a:ext uri="{FF2B5EF4-FFF2-40B4-BE49-F238E27FC236}">
                <a16:creationId xmlns:a16="http://schemas.microsoft.com/office/drawing/2014/main" id="{F0EBBEEF-769F-0B4A-B09E-0CB049B47B4E}"/>
              </a:ext>
            </a:extLst>
          </p:cNvPr>
          <p:cNvSpPr txBox="1">
            <a:spLocks/>
          </p:cNvSpPr>
          <p:nvPr/>
        </p:nvSpPr>
        <p:spPr>
          <a:xfrm>
            <a:off x="185759" y="5087275"/>
            <a:ext cx="8283862" cy="1661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dirty="0"/>
              <a:t>Pathway to Success</a:t>
            </a:r>
          </a:p>
        </p:txBody>
      </p:sp>
      <p:pic>
        <p:nvPicPr>
          <p:cNvPr id="11" name="Picture 10">
            <a:extLst>
              <a:ext uri="{FF2B5EF4-FFF2-40B4-BE49-F238E27FC236}">
                <a16:creationId xmlns:a16="http://schemas.microsoft.com/office/drawing/2014/main" id="{45DF0208-C3E4-BD4A-B19D-A7CEDA7631E1}"/>
              </a:ext>
            </a:extLst>
          </p:cNvPr>
          <p:cNvPicPr>
            <a:picLocks noChangeAspect="1"/>
          </p:cNvPicPr>
          <p:nvPr/>
        </p:nvPicPr>
        <p:blipFill>
          <a:blip r:embed="rId7"/>
          <a:stretch>
            <a:fillRect/>
          </a:stretch>
        </p:blipFill>
        <p:spPr>
          <a:xfrm>
            <a:off x="4618111" y="1358348"/>
            <a:ext cx="2572978" cy="2138789"/>
          </a:xfrm>
          <a:prstGeom prst="rect">
            <a:avLst/>
          </a:prstGeom>
        </p:spPr>
      </p:pic>
      <p:pic>
        <p:nvPicPr>
          <p:cNvPr id="12" name="Picture 11">
            <a:extLst>
              <a:ext uri="{FF2B5EF4-FFF2-40B4-BE49-F238E27FC236}">
                <a16:creationId xmlns:a16="http://schemas.microsoft.com/office/drawing/2014/main" id="{EAB465D4-413E-4748-AB03-B1E7666B2DA9}"/>
              </a:ext>
            </a:extLst>
          </p:cNvPr>
          <p:cNvPicPr>
            <a:picLocks noChangeAspect="1"/>
          </p:cNvPicPr>
          <p:nvPr/>
        </p:nvPicPr>
        <p:blipFill>
          <a:blip r:embed="rId8"/>
          <a:stretch>
            <a:fillRect/>
          </a:stretch>
        </p:blipFill>
        <p:spPr>
          <a:xfrm>
            <a:off x="7487322" y="1077186"/>
            <a:ext cx="1397502" cy="3341463"/>
          </a:xfrm>
          <a:prstGeom prst="rect">
            <a:avLst/>
          </a:prstGeom>
        </p:spPr>
      </p:pic>
      <p:sp>
        <p:nvSpPr>
          <p:cNvPr id="14" name="Title 1">
            <a:extLst>
              <a:ext uri="{FF2B5EF4-FFF2-40B4-BE49-F238E27FC236}">
                <a16:creationId xmlns:a16="http://schemas.microsoft.com/office/drawing/2014/main" id="{11A22894-6820-5641-85E9-0DE185B1F0C4}"/>
              </a:ext>
            </a:extLst>
          </p:cNvPr>
          <p:cNvSpPr>
            <a:spLocks noGrp="1"/>
          </p:cNvSpPr>
          <p:nvPr>
            <p:ph type="title"/>
          </p:nvPr>
        </p:nvSpPr>
        <p:spPr>
          <a:xfrm>
            <a:off x="1151068" y="356168"/>
            <a:ext cx="6807070" cy="415498"/>
          </a:xfrm>
        </p:spPr>
        <p:txBody>
          <a:bodyPr/>
          <a:lstStyle/>
          <a:p>
            <a:r>
              <a:rPr lang="en-US" dirty="0"/>
              <a:t>Specialty Renal Products </a:t>
            </a:r>
          </a:p>
        </p:txBody>
      </p:sp>
      <p:pic>
        <p:nvPicPr>
          <p:cNvPr id="15" name="Picture 14">
            <a:extLst>
              <a:ext uri="{FF2B5EF4-FFF2-40B4-BE49-F238E27FC236}">
                <a16:creationId xmlns:a16="http://schemas.microsoft.com/office/drawing/2014/main" id="{1BD04634-7261-DE4E-B9A3-15C1723BA2F3}"/>
              </a:ext>
            </a:extLst>
          </p:cNvPr>
          <p:cNvPicPr>
            <a:picLocks noChangeAspect="1"/>
          </p:cNvPicPr>
          <p:nvPr/>
        </p:nvPicPr>
        <p:blipFill>
          <a:blip r:embed="rId9"/>
          <a:stretch>
            <a:fillRect/>
          </a:stretch>
        </p:blipFill>
        <p:spPr>
          <a:xfrm>
            <a:off x="156611" y="250400"/>
            <a:ext cx="768028" cy="646307"/>
          </a:xfrm>
          <a:prstGeom prst="rect">
            <a:avLst/>
          </a:prstGeom>
        </p:spPr>
      </p:pic>
    </p:spTree>
    <p:extLst>
      <p:ext uri="{BB962C8B-B14F-4D97-AF65-F5344CB8AC3E}">
        <p14:creationId xmlns:p14="http://schemas.microsoft.com/office/powerpoint/2010/main" val="18795141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3BDB05-062C-41AE-9614-437D3B1306EE}"/>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53318"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5C3BDB05-062C-41AE-9614-437D3B1306EE}"/>
                          </a:ext>
                        </a:extLst>
                      </p:cNvPr>
                      <p:cNvPicPr/>
                      <p:nvPr/>
                    </p:nvPicPr>
                    <p:blipFill>
                      <a:blip r:embed="rId5"/>
                      <a:stretch>
                        <a:fillRect/>
                      </a:stretch>
                    </p:blipFill>
                    <p:spPr>
                      <a:xfrm>
                        <a:off x="-1522411" y="1589"/>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23490A9F-D4CF-426B-8A39-BF14918DEA54}"/>
              </a:ext>
            </a:extLst>
          </p:cNvPr>
          <p:cNvSpPr txBox="1"/>
          <p:nvPr/>
        </p:nvSpPr>
        <p:spPr>
          <a:xfrm>
            <a:off x="4326852" y="541592"/>
            <a:ext cx="4604084" cy="184665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2400" b="1" dirty="0">
                <a:solidFill>
                  <a:schemeClr val="accent5"/>
                </a:solidFill>
                <a:latin typeface="Arial" panose="020B0604020202020204" pitchFamily="34" charset="0"/>
                <a:cs typeface="Arial" panose="020B0604020202020204" pitchFamily="34" charset="0"/>
              </a:rPr>
              <a:t>Nephros, Inc.</a:t>
            </a:r>
          </a:p>
          <a:p>
            <a:pPr algn="ctr">
              <a:defRPr/>
            </a:pPr>
            <a:r>
              <a:rPr lang="en-US" sz="2400" dirty="0">
                <a:solidFill>
                  <a:schemeClr val="accent5"/>
                </a:solidFill>
                <a:latin typeface="Arial" panose="020B0604020202020204" pitchFamily="34" charset="0"/>
                <a:cs typeface="Arial" panose="020B0604020202020204" pitchFamily="34" charset="0"/>
              </a:rPr>
              <a:t>380 Lackawanna Place</a:t>
            </a:r>
          </a:p>
          <a:p>
            <a:pPr algn="ctr">
              <a:defRPr/>
            </a:pPr>
            <a:r>
              <a:rPr lang="en-US" sz="2400" dirty="0">
                <a:solidFill>
                  <a:schemeClr val="accent5"/>
                </a:solidFill>
                <a:latin typeface="Arial" panose="020B0604020202020204" pitchFamily="34" charset="0"/>
                <a:cs typeface="Arial" panose="020B0604020202020204" pitchFamily="34" charset="0"/>
              </a:rPr>
              <a:t>South Orange, NJ 07079</a:t>
            </a:r>
          </a:p>
          <a:p>
            <a:pPr algn="ctr">
              <a:defRPr/>
            </a:pPr>
            <a:r>
              <a:rPr lang="en-US" sz="2400" dirty="0">
                <a:solidFill>
                  <a:schemeClr val="accent5"/>
                </a:solidFill>
                <a:latin typeface="Arial" panose="020B0604020202020204" pitchFamily="34" charset="0"/>
                <a:cs typeface="Arial" panose="020B0604020202020204" pitchFamily="34" charset="0"/>
              </a:rPr>
              <a:t>P: 201.343.5202</a:t>
            </a:r>
          </a:p>
          <a:p>
            <a:pPr algn="ctr">
              <a:defRPr/>
            </a:pPr>
            <a:r>
              <a:rPr lang="en-US" sz="2400" dirty="0">
                <a:solidFill>
                  <a:schemeClr val="accent5"/>
                </a:solidFill>
                <a:latin typeface="Arial" panose="020B0604020202020204" pitchFamily="34" charset="0"/>
                <a:cs typeface="Arial" panose="020B0604020202020204" pitchFamily="34" charset="0"/>
              </a:rPr>
              <a:t>www.nephros.com</a:t>
            </a:r>
          </a:p>
        </p:txBody>
      </p:sp>
      <p:sp>
        <p:nvSpPr>
          <p:cNvPr id="4" name="TextBox 3">
            <a:extLst>
              <a:ext uri="{FF2B5EF4-FFF2-40B4-BE49-F238E27FC236}">
                <a16:creationId xmlns:a16="http://schemas.microsoft.com/office/drawing/2014/main" id="{14DEA013-8561-46E2-AE5D-E34C01061A9D}"/>
              </a:ext>
            </a:extLst>
          </p:cNvPr>
          <p:cNvSpPr txBox="1"/>
          <p:nvPr/>
        </p:nvSpPr>
        <p:spPr>
          <a:xfrm>
            <a:off x="1668790" y="4544814"/>
            <a:ext cx="4604084" cy="20313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200" dirty="0">
                <a:solidFill>
                  <a:schemeClr val="accent5"/>
                </a:solidFill>
                <a:latin typeface="Arial" panose="020B0604020202020204" pitchFamily="34" charset="0"/>
                <a:cs typeface="Arial" panose="020B0604020202020204" pitchFamily="34" charset="0"/>
              </a:rPr>
              <a:t>Investor Relations Contacts:</a:t>
            </a:r>
          </a:p>
          <a:p>
            <a:pPr algn="ctr">
              <a:defRPr/>
            </a:pPr>
            <a:endParaRPr lang="en-US" sz="1200" dirty="0">
              <a:solidFill>
                <a:schemeClr val="accent5"/>
              </a:solidFill>
              <a:latin typeface="Arial" panose="020B0604020202020204" pitchFamily="34" charset="0"/>
              <a:cs typeface="Arial" panose="020B0604020202020204" pitchFamily="34" charset="0"/>
            </a:endParaRPr>
          </a:p>
          <a:p>
            <a:pPr algn="ctr">
              <a:defRPr/>
            </a:pPr>
            <a:r>
              <a:rPr lang="en-US" sz="1200" dirty="0">
                <a:solidFill>
                  <a:schemeClr val="accent5"/>
                </a:solidFill>
                <a:latin typeface="Arial" panose="020B0604020202020204" pitchFamily="34" charset="0"/>
                <a:cs typeface="Arial" panose="020B0604020202020204" pitchFamily="34" charset="0"/>
              </a:rPr>
              <a:t>Kirin Smith, President</a:t>
            </a:r>
          </a:p>
          <a:p>
            <a:pPr algn="ctr">
              <a:defRPr/>
            </a:pPr>
            <a:r>
              <a:rPr lang="en-US" sz="1200" dirty="0">
                <a:solidFill>
                  <a:schemeClr val="accent5"/>
                </a:solidFill>
                <a:latin typeface="Arial" panose="020B0604020202020204" pitchFamily="34" charset="0"/>
                <a:cs typeface="Arial" panose="020B0604020202020204" pitchFamily="34" charset="0"/>
              </a:rPr>
              <a:t>PCG Advisory</a:t>
            </a:r>
          </a:p>
          <a:p>
            <a:pPr algn="ctr">
              <a:defRPr/>
            </a:pPr>
            <a:r>
              <a:rPr lang="en-US" sz="1200" dirty="0" err="1">
                <a:solidFill>
                  <a:schemeClr val="accent5"/>
                </a:solidFill>
                <a:latin typeface="Arial" panose="020B0604020202020204" pitchFamily="34" charset="0"/>
                <a:cs typeface="Arial" panose="020B0604020202020204" pitchFamily="34" charset="0"/>
              </a:rPr>
              <a:t>ksmith@pcgadvisory.com</a:t>
            </a:r>
            <a:endParaRPr lang="en-US" sz="1200" dirty="0">
              <a:solidFill>
                <a:schemeClr val="accent5"/>
              </a:solidFill>
              <a:latin typeface="Arial" panose="020B0604020202020204" pitchFamily="34" charset="0"/>
              <a:cs typeface="Arial" panose="020B0604020202020204" pitchFamily="34" charset="0"/>
            </a:endParaRPr>
          </a:p>
          <a:p>
            <a:pPr algn="ctr">
              <a:defRPr/>
            </a:pPr>
            <a:r>
              <a:rPr lang="en-US" sz="1200" dirty="0">
                <a:solidFill>
                  <a:schemeClr val="accent5"/>
                </a:solidFill>
                <a:latin typeface="Arial" panose="020B0604020202020204" pitchFamily="34" charset="0"/>
                <a:cs typeface="Arial" panose="020B0604020202020204" pitchFamily="34" charset="0"/>
              </a:rPr>
              <a:t>(646) 823-8656</a:t>
            </a:r>
          </a:p>
          <a:p>
            <a:pPr algn="ctr">
              <a:defRPr/>
            </a:pPr>
            <a:endParaRPr lang="en-US" sz="1200" dirty="0">
              <a:solidFill>
                <a:schemeClr val="accent5"/>
              </a:solidFill>
              <a:latin typeface="Arial" panose="020B0604020202020204" pitchFamily="34" charset="0"/>
              <a:cs typeface="Arial" panose="020B0604020202020204" pitchFamily="34" charset="0"/>
            </a:endParaRPr>
          </a:p>
          <a:p>
            <a:pPr algn="ctr">
              <a:defRPr/>
            </a:pPr>
            <a:r>
              <a:rPr lang="en-US" sz="1200" dirty="0">
                <a:solidFill>
                  <a:schemeClr val="accent5"/>
                </a:solidFill>
                <a:latin typeface="Arial" panose="020B0604020202020204" pitchFamily="34" charset="0"/>
                <a:cs typeface="Arial" panose="020B0604020202020204" pitchFamily="34" charset="0"/>
              </a:rPr>
              <a:t>Andy Astor, COO &amp; CFO</a:t>
            </a:r>
          </a:p>
          <a:p>
            <a:pPr algn="ctr">
              <a:defRPr/>
            </a:pPr>
            <a:r>
              <a:rPr lang="en-US" sz="1200" dirty="0">
                <a:solidFill>
                  <a:schemeClr val="accent5"/>
                </a:solidFill>
                <a:latin typeface="Arial" panose="020B0604020202020204" pitchFamily="34" charset="0"/>
                <a:cs typeface="Arial" panose="020B0604020202020204" pitchFamily="34" charset="0"/>
              </a:rPr>
              <a:t>Nephros, Inc.</a:t>
            </a:r>
          </a:p>
          <a:p>
            <a:pPr algn="ctr">
              <a:defRPr/>
            </a:pPr>
            <a:r>
              <a:rPr lang="en-US" sz="1200" dirty="0">
                <a:solidFill>
                  <a:schemeClr val="accent5"/>
                </a:solidFill>
                <a:latin typeface="Arial" panose="020B0604020202020204" pitchFamily="34" charset="0"/>
                <a:cs typeface="Arial" panose="020B0604020202020204" pitchFamily="34" charset="0"/>
              </a:rPr>
              <a:t>andy@nephros.com</a:t>
            </a:r>
          </a:p>
          <a:p>
            <a:pPr algn="ctr">
              <a:defRPr/>
            </a:pPr>
            <a:r>
              <a:rPr lang="en-US" sz="1200" dirty="0">
                <a:solidFill>
                  <a:schemeClr val="accent5"/>
                </a:solidFill>
                <a:latin typeface="Arial" panose="020B0604020202020204" pitchFamily="34" charset="0"/>
                <a:cs typeface="Arial" panose="020B0604020202020204" pitchFamily="34" charset="0"/>
              </a:rPr>
              <a:t>201.345.0824</a:t>
            </a:r>
          </a:p>
        </p:txBody>
      </p:sp>
      <p:sp>
        <p:nvSpPr>
          <p:cNvPr id="3" name="Rectangle 2">
            <a:extLst>
              <a:ext uri="{FF2B5EF4-FFF2-40B4-BE49-F238E27FC236}">
                <a16:creationId xmlns:a16="http://schemas.microsoft.com/office/drawing/2014/main" id="{D2A13324-1383-406A-8CB6-905D42F100EB}"/>
              </a:ext>
            </a:extLst>
          </p:cNvPr>
          <p:cNvSpPr/>
          <p:nvPr/>
        </p:nvSpPr>
        <p:spPr>
          <a:xfrm>
            <a:off x="230819" y="482155"/>
            <a:ext cx="2130641" cy="2015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982C122-24B1-4616-B34B-F191600FAE3E}"/>
              </a:ext>
            </a:extLst>
          </p:cNvPr>
          <p:cNvSpPr/>
          <p:nvPr/>
        </p:nvSpPr>
        <p:spPr>
          <a:xfrm>
            <a:off x="6972866" y="4814975"/>
            <a:ext cx="2130641" cy="2015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B435D960-CAA7-4DF4-A250-BEB319DD2C2D}"/>
              </a:ext>
            </a:extLst>
          </p:cNvPr>
          <p:cNvPicPr>
            <a:picLocks noChangeAspect="1"/>
          </p:cNvPicPr>
          <p:nvPr/>
        </p:nvPicPr>
        <p:blipFill>
          <a:blip r:embed="rId6"/>
          <a:stretch>
            <a:fillRect/>
          </a:stretch>
        </p:blipFill>
        <p:spPr>
          <a:xfrm>
            <a:off x="7488858" y="5328671"/>
            <a:ext cx="1307376" cy="1375263"/>
          </a:xfrm>
          <a:prstGeom prst="rect">
            <a:avLst/>
          </a:prstGeom>
        </p:spPr>
      </p:pic>
      <p:sp>
        <p:nvSpPr>
          <p:cNvPr id="8" name="TextBox 7">
            <a:extLst>
              <a:ext uri="{FF2B5EF4-FFF2-40B4-BE49-F238E27FC236}">
                <a16:creationId xmlns:a16="http://schemas.microsoft.com/office/drawing/2014/main" id="{F343741C-B9D9-4C44-8374-8BBAE75372FC}"/>
              </a:ext>
            </a:extLst>
          </p:cNvPr>
          <p:cNvSpPr txBox="1"/>
          <p:nvPr/>
        </p:nvSpPr>
        <p:spPr>
          <a:xfrm>
            <a:off x="230819" y="751338"/>
            <a:ext cx="2652533" cy="73866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4800" dirty="0">
                <a:solidFill>
                  <a:schemeClr val="accent5"/>
                </a:solidFill>
                <a:latin typeface="+mj-lt"/>
                <a:cs typeface="Arial" panose="020B0604020202020204" pitchFamily="34" charset="0"/>
              </a:rPr>
              <a:t>Thank You</a:t>
            </a:r>
          </a:p>
        </p:txBody>
      </p:sp>
    </p:spTree>
    <p:extLst>
      <p:ext uri="{BB962C8B-B14F-4D97-AF65-F5344CB8AC3E}">
        <p14:creationId xmlns:p14="http://schemas.microsoft.com/office/powerpoint/2010/main" val="2336841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11" y="1589"/>
          <a:ext cx="1588" cy="1588"/>
        </p:xfrm>
        <a:graphic>
          <a:graphicData uri="http://schemas.openxmlformats.org/presentationml/2006/ole">
            <mc:AlternateContent xmlns:mc="http://schemas.openxmlformats.org/markup-compatibility/2006">
              <mc:Choice xmlns:v="urn:schemas-microsoft-com:vml" Requires="v">
                <p:oleObj spid="_x0000_s43078"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11"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345338"/>
            <a:ext cx="6002595" cy="443198"/>
          </a:xfrm>
        </p:spPr>
        <p:txBody>
          <a:bodyPr/>
          <a:lstStyle/>
          <a:p>
            <a:r>
              <a:rPr lang="en-US" sz="3200" dirty="0"/>
              <a:t>Our Vision &amp; Mission</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703025F-5038-48A2-8F2E-D28A39FB9727}" type="slidenum">
              <a:rPr kumimoji="0" lang="en-US" sz="800" b="0" i="0" u="none" strike="noStrike" kern="1200" cap="none" spc="0" normalizeH="0" baseline="0" noProof="0">
                <a:ln>
                  <a:noFill/>
                </a:ln>
                <a:solidFill>
                  <a:prstClr val="white"/>
                </a:solidFill>
                <a:effectLst/>
                <a:uLnTx/>
                <a:uFillTx/>
                <a:latin typeface="Calibri Regular"/>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white"/>
              </a:solidFill>
              <a:effectLst/>
              <a:uLnTx/>
              <a:uFillTx/>
              <a:latin typeface="Calibri Regular"/>
              <a:ea typeface="+mn-ea"/>
              <a:cs typeface="+mn-cs"/>
            </a:endParaRPr>
          </a:p>
        </p:txBody>
      </p:sp>
      <p:sp>
        <p:nvSpPr>
          <p:cNvPr id="14" name="TextBox 13">
            <a:extLst>
              <a:ext uri="{FF2B5EF4-FFF2-40B4-BE49-F238E27FC236}">
                <a16:creationId xmlns:a16="http://schemas.microsoft.com/office/drawing/2014/main" id="{382D376F-6171-4DE8-B328-D98604C05DB8}"/>
              </a:ext>
            </a:extLst>
          </p:cNvPr>
          <p:cNvSpPr txBox="1"/>
          <p:nvPr/>
        </p:nvSpPr>
        <p:spPr>
          <a:xfrm>
            <a:off x="1497112" y="4329299"/>
            <a:ext cx="2144624" cy="24622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600" b="1" dirty="0">
                <a:solidFill>
                  <a:schemeClr val="bg1"/>
                </a:solidFill>
                <a:latin typeface="Calibri Regular"/>
              </a:rPr>
              <a:t>Debris Retained</a:t>
            </a:r>
          </a:p>
        </p:txBody>
      </p:sp>
      <p:sp>
        <p:nvSpPr>
          <p:cNvPr id="15" name="TextBox 14">
            <a:extLst>
              <a:ext uri="{FF2B5EF4-FFF2-40B4-BE49-F238E27FC236}">
                <a16:creationId xmlns:a16="http://schemas.microsoft.com/office/drawing/2014/main" id="{259E5A1C-E91C-40D0-B9C5-B128CCE77520}"/>
              </a:ext>
            </a:extLst>
          </p:cNvPr>
          <p:cNvSpPr txBox="1"/>
          <p:nvPr/>
        </p:nvSpPr>
        <p:spPr>
          <a:xfrm>
            <a:off x="5725863" y="4206188"/>
            <a:ext cx="1931170" cy="49244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600" b="1" dirty="0">
                <a:solidFill>
                  <a:schemeClr val="bg1"/>
                </a:solidFill>
                <a:latin typeface="Calibri Regular"/>
              </a:rPr>
              <a:t>Product Water Delivered</a:t>
            </a:r>
          </a:p>
        </p:txBody>
      </p:sp>
      <p:sp>
        <p:nvSpPr>
          <p:cNvPr id="16" name="TextBox 15">
            <a:extLst>
              <a:ext uri="{FF2B5EF4-FFF2-40B4-BE49-F238E27FC236}">
                <a16:creationId xmlns:a16="http://schemas.microsoft.com/office/drawing/2014/main" id="{84C04953-E044-4810-A9CE-8F6184EC0333}"/>
              </a:ext>
            </a:extLst>
          </p:cNvPr>
          <p:cNvSpPr txBox="1"/>
          <p:nvPr/>
        </p:nvSpPr>
        <p:spPr>
          <a:xfrm>
            <a:off x="3468342" y="5515835"/>
            <a:ext cx="2240243" cy="5539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algn="ctr">
              <a:defRPr/>
            </a:pPr>
            <a:r>
              <a:rPr lang="en-US" sz="1200" b="1" dirty="0">
                <a:solidFill>
                  <a:schemeClr val="bg1"/>
                </a:solidFill>
                <a:latin typeface="Calibri Regular"/>
              </a:rPr>
              <a:t>The DSU-H is FDA Cleared (bacteria &amp; virus) to aid in infection control for up to 180-days</a:t>
            </a:r>
          </a:p>
        </p:txBody>
      </p:sp>
      <p:pic>
        <p:nvPicPr>
          <p:cNvPr id="18" name="Picture 4" descr="Image result for Nephros">
            <a:extLst>
              <a:ext uri="{FF2B5EF4-FFF2-40B4-BE49-F238E27FC236}">
                <a16:creationId xmlns:a16="http://schemas.microsoft.com/office/drawing/2014/main" id="{9C4DB125-E9D9-4225-AD10-0D1E8D0F52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198240"/>
            <a:ext cx="9144000" cy="50768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3">
            <a:extLst>
              <a:ext uri="{FF2B5EF4-FFF2-40B4-BE49-F238E27FC236}">
                <a16:creationId xmlns:a16="http://schemas.microsoft.com/office/drawing/2014/main" id="{1A92395B-F61E-4DA3-8548-AA6EBEF3EECC}"/>
              </a:ext>
            </a:extLst>
          </p:cNvPr>
          <p:cNvSpPr>
            <a:spLocks noGrp="1"/>
          </p:cNvSpPr>
          <p:nvPr>
            <p:ph type="body" sz="quarter" idx="14"/>
          </p:nvPr>
        </p:nvSpPr>
        <p:spPr>
          <a:xfrm>
            <a:off x="4478001" y="3122065"/>
            <a:ext cx="4691638" cy="1107996"/>
          </a:xfrm>
        </p:spPr>
        <p:txBody>
          <a:bodyPr/>
          <a:lstStyle/>
          <a:p>
            <a:r>
              <a:rPr lang="en-US" i="1" dirty="0">
                <a:solidFill>
                  <a:srgbClr val="280071"/>
                </a:solidFill>
              </a:rPr>
              <a:t>Nephros provides innovative and superior technologies that provide </a:t>
            </a:r>
            <a:r>
              <a:rPr lang="en-US" i="1">
                <a:solidFill>
                  <a:srgbClr val="280071"/>
                </a:solidFill>
              </a:rPr>
              <a:t>water safety solutions</a:t>
            </a:r>
            <a:r>
              <a:rPr lang="en-US" i="1" dirty="0">
                <a:solidFill>
                  <a:srgbClr val="280071"/>
                </a:solidFill>
              </a:rPr>
              <a:t>, delivered to our customers with unparalleled quality, reliability and service. </a:t>
            </a:r>
            <a:endParaRPr lang="en-US" i="1" dirty="0">
              <a:solidFill>
                <a:srgbClr val="FF0000"/>
              </a:solidFill>
            </a:endParaRPr>
          </a:p>
        </p:txBody>
      </p:sp>
    </p:spTree>
    <p:extLst>
      <p:ext uri="{BB962C8B-B14F-4D97-AF65-F5344CB8AC3E}">
        <p14:creationId xmlns:p14="http://schemas.microsoft.com/office/powerpoint/2010/main" val="3168278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2CE"/>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203E741-0643-46CA-8667-C4EE763B1A35}"/>
              </a:ext>
            </a:extLst>
          </p:cNvPr>
          <p:cNvGrpSpPr/>
          <p:nvPr/>
        </p:nvGrpSpPr>
        <p:grpSpPr>
          <a:xfrm>
            <a:off x="329506" y="1011139"/>
            <a:ext cx="4353627" cy="984884"/>
            <a:chOff x="2591232" y="337223"/>
            <a:chExt cx="4353627" cy="984883"/>
          </a:xfrm>
        </p:grpSpPr>
        <p:grpSp>
          <p:nvGrpSpPr>
            <p:cNvPr id="5" name="Group 4">
              <a:extLst>
                <a:ext uri="{FF2B5EF4-FFF2-40B4-BE49-F238E27FC236}">
                  <a16:creationId xmlns:a16="http://schemas.microsoft.com/office/drawing/2014/main" id="{B20A41E7-4507-4F43-835D-B4EB96E20C8C}"/>
                </a:ext>
              </a:extLst>
            </p:cNvPr>
            <p:cNvGrpSpPr/>
            <p:nvPr/>
          </p:nvGrpSpPr>
          <p:grpSpPr>
            <a:xfrm>
              <a:off x="3020700" y="337223"/>
              <a:ext cx="3924159" cy="984883"/>
              <a:chOff x="2549840" y="327569"/>
              <a:chExt cx="4180114" cy="984883"/>
            </a:xfrm>
          </p:grpSpPr>
          <p:sp>
            <p:nvSpPr>
              <p:cNvPr id="7" name="TextBox 6">
                <a:extLst>
                  <a:ext uri="{FF2B5EF4-FFF2-40B4-BE49-F238E27FC236}">
                    <a16:creationId xmlns:a16="http://schemas.microsoft.com/office/drawing/2014/main" id="{822589EC-6A29-4E9A-84CB-8F84AC918E65}"/>
                  </a:ext>
                </a:extLst>
              </p:cNvPr>
              <p:cNvSpPr txBox="1"/>
              <p:nvPr/>
            </p:nvSpPr>
            <p:spPr>
              <a:xfrm>
                <a:off x="2561858" y="327569"/>
                <a:ext cx="3534141" cy="43088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Daron Evans, MS, MBA</a:t>
                </a:r>
              </a:p>
              <a:p>
                <a:r>
                  <a:rPr lang="en-US" sz="1400" b="1" i="1" dirty="0">
                    <a:solidFill>
                      <a:schemeClr val="bg1"/>
                    </a:solidFill>
                    <a:latin typeface="Arial" panose="020B0604020202020204" pitchFamily="34" charset="0"/>
                    <a:cs typeface="Arial" panose="020B0604020202020204" pitchFamily="34" charset="0"/>
                  </a:rPr>
                  <a:t>President &amp; CEO</a:t>
                </a:r>
              </a:p>
            </p:txBody>
          </p:sp>
          <p:sp>
            <p:nvSpPr>
              <p:cNvPr id="8" name="TextBox 7">
                <a:extLst>
                  <a:ext uri="{FF2B5EF4-FFF2-40B4-BE49-F238E27FC236}">
                    <a16:creationId xmlns:a16="http://schemas.microsoft.com/office/drawing/2014/main" id="{C047AF92-409E-45EA-BE4F-DEF4D12FF2CE}"/>
                  </a:ext>
                </a:extLst>
              </p:cNvPr>
              <p:cNvSpPr txBox="1"/>
              <p:nvPr/>
            </p:nvSpPr>
            <p:spPr>
              <a:xfrm>
                <a:off x="2549840" y="758455"/>
                <a:ext cx="4180114" cy="55399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CFO Nile Therapeutics, Inc. (now CAPR)</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J&amp;J, Arthur D. Little, Booz Allen &amp; Hamilton</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MBA Duke, BS Chem Eng, MS Biomed Eng</a:t>
                </a:r>
              </a:p>
            </p:txBody>
          </p:sp>
        </p:grpSp>
        <p:sp>
          <p:nvSpPr>
            <p:cNvPr id="6" name="Isosceles Triangle 13">
              <a:extLst>
                <a:ext uri="{FF2B5EF4-FFF2-40B4-BE49-F238E27FC236}">
                  <a16:creationId xmlns:a16="http://schemas.microsoft.com/office/drawing/2014/main" id="{EFED6116-8770-4F08-BD8F-63AC119337B1}"/>
                </a:ext>
              </a:extLst>
            </p:cNvPr>
            <p:cNvSpPr/>
            <p:nvPr/>
          </p:nvSpPr>
          <p:spPr>
            <a:xfrm rot="5400000">
              <a:off x="2488724" y="711000"/>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grpSp>
        <p:nvGrpSpPr>
          <p:cNvPr id="9" name="Group 8">
            <a:extLst>
              <a:ext uri="{FF2B5EF4-FFF2-40B4-BE49-F238E27FC236}">
                <a16:creationId xmlns:a16="http://schemas.microsoft.com/office/drawing/2014/main" id="{CB41DF79-9A4B-42E2-8AD5-9009BBA62977}"/>
              </a:ext>
            </a:extLst>
          </p:cNvPr>
          <p:cNvGrpSpPr/>
          <p:nvPr/>
        </p:nvGrpSpPr>
        <p:grpSpPr>
          <a:xfrm>
            <a:off x="324418" y="2339098"/>
            <a:ext cx="4970576" cy="1015565"/>
            <a:chOff x="2597356" y="1969649"/>
            <a:chExt cx="4970576" cy="1015563"/>
          </a:xfrm>
        </p:grpSpPr>
        <p:grpSp>
          <p:nvGrpSpPr>
            <p:cNvPr id="10" name="Group 9">
              <a:extLst>
                <a:ext uri="{FF2B5EF4-FFF2-40B4-BE49-F238E27FC236}">
                  <a16:creationId xmlns:a16="http://schemas.microsoft.com/office/drawing/2014/main" id="{FBEB21B4-375C-46C4-A247-9EC31522FC0A}"/>
                </a:ext>
              </a:extLst>
            </p:cNvPr>
            <p:cNvGrpSpPr/>
            <p:nvPr/>
          </p:nvGrpSpPr>
          <p:grpSpPr>
            <a:xfrm>
              <a:off x="3026824" y="1969649"/>
              <a:ext cx="4541108" cy="1015563"/>
              <a:chOff x="2519459" y="1941354"/>
              <a:chExt cx="4541108" cy="1015563"/>
            </a:xfrm>
          </p:grpSpPr>
          <p:sp>
            <p:nvSpPr>
              <p:cNvPr id="12" name="TextBox 11">
                <a:extLst>
                  <a:ext uri="{FF2B5EF4-FFF2-40B4-BE49-F238E27FC236}">
                    <a16:creationId xmlns:a16="http://schemas.microsoft.com/office/drawing/2014/main" id="{DE7D788C-B54B-4D08-8802-D1920C730AEE}"/>
                  </a:ext>
                </a:extLst>
              </p:cNvPr>
              <p:cNvSpPr txBox="1"/>
              <p:nvPr/>
            </p:nvSpPr>
            <p:spPr>
              <a:xfrm>
                <a:off x="2524618" y="1941354"/>
                <a:ext cx="3152478" cy="43088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Andy Astor, MBA</a:t>
                </a:r>
              </a:p>
              <a:p>
                <a:r>
                  <a:rPr lang="en-US" sz="1400" b="1" i="1" dirty="0">
                    <a:solidFill>
                      <a:schemeClr val="bg1"/>
                    </a:solidFill>
                    <a:latin typeface="Arial" panose="020B0604020202020204" pitchFamily="34" charset="0"/>
                    <a:cs typeface="Arial" panose="020B0604020202020204" pitchFamily="34" charset="0"/>
                  </a:rPr>
                  <a:t>COO &amp; CFO</a:t>
                </a:r>
              </a:p>
            </p:txBody>
          </p:sp>
          <p:sp>
            <p:nvSpPr>
              <p:cNvPr id="13" name="TextBox 12">
                <a:extLst>
                  <a:ext uri="{FF2B5EF4-FFF2-40B4-BE49-F238E27FC236}">
                    <a16:creationId xmlns:a16="http://schemas.microsoft.com/office/drawing/2014/main" id="{70EC6A3E-3F26-44C0-8CA0-AD6795C2861F}"/>
                  </a:ext>
                </a:extLst>
              </p:cNvPr>
              <p:cNvSpPr txBox="1"/>
              <p:nvPr/>
            </p:nvSpPr>
            <p:spPr>
              <a:xfrm>
                <a:off x="2519459" y="2402920"/>
                <a:ext cx="4541108" cy="55399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esident/CFO, OpenSCG (acquired by AMZN)</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Founder/CEO EnterpriseDB, VP Asurion, VP D&amp;B, EY</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MBA Wharton, BA Mathematics Clark University</a:t>
                </a:r>
              </a:p>
            </p:txBody>
          </p:sp>
        </p:grpSp>
        <p:sp>
          <p:nvSpPr>
            <p:cNvPr id="11" name="Isosceles Triangle 13">
              <a:extLst>
                <a:ext uri="{FF2B5EF4-FFF2-40B4-BE49-F238E27FC236}">
                  <a16:creationId xmlns:a16="http://schemas.microsoft.com/office/drawing/2014/main" id="{72BD8087-9896-4F0B-810B-B864FCB865EE}"/>
                </a:ext>
              </a:extLst>
            </p:cNvPr>
            <p:cNvSpPr/>
            <p:nvPr/>
          </p:nvSpPr>
          <p:spPr>
            <a:xfrm rot="5400000">
              <a:off x="2494848" y="2344377"/>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grpSp>
        <p:nvGrpSpPr>
          <p:cNvPr id="14" name="Group 13">
            <a:extLst>
              <a:ext uri="{FF2B5EF4-FFF2-40B4-BE49-F238E27FC236}">
                <a16:creationId xmlns:a16="http://schemas.microsoft.com/office/drawing/2014/main" id="{AEB6C496-B4DB-46FF-906E-172400B73048}"/>
              </a:ext>
            </a:extLst>
          </p:cNvPr>
          <p:cNvGrpSpPr/>
          <p:nvPr/>
        </p:nvGrpSpPr>
        <p:grpSpPr>
          <a:xfrm>
            <a:off x="324417" y="3681802"/>
            <a:ext cx="4156939" cy="1012636"/>
            <a:chOff x="2600326" y="3456791"/>
            <a:chExt cx="4156939" cy="1012637"/>
          </a:xfrm>
        </p:grpSpPr>
        <p:grpSp>
          <p:nvGrpSpPr>
            <p:cNvPr id="15" name="Group 14">
              <a:extLst>
                <a:ext uri="{FF2B5EF4-FFF2-40B4-BE49-F238E27FC236}">
                  <a16:creationId xmlns:a16="http://schemas.microsoft.com/office/drawing/2014/main" id="{00CE350A-9661-473D-A163-6AB9CF284A4D}"/>
                </a:ext>
              </a:extLst>
            </p:cNvPr>
            <p:cNvGrpSpPr/>
            <p:nvPr/>
          </p:nvGrpSpPr>
          <p:grpSpPr>
            <a:xfrm>
              <a:off x="3031985" y="3456791"/>
              <a:ext cx="3725280" cy="1012637"/>
              <a:chOff x="2571082" y="3557042"/>
              <a:chExt cx="3534140" cy="1012637"/>
            </a:xfrm>
          </p:grpSpPr>
          <p:sp>
            <p:nvSpPr>
              <p:cNvPr id="17" name="TextBox 16">
                <a:extLst>
                  <a:ext uri="{FF2B5EF4-FFF2-40B4-BE49-F238E27FC236}">
                    <a16:creationId xmlns:a16="http://schemas.microsoft.com/office/drawing/2014/main" id="{F96A8808-C4BA-4679-89AA-4DA6D369F44D}"/>
                  </a:ext>
                </a:extLst>
              </p:cNvPr>
              <p:cNvSpPr txBox="1"/>
              <p:nvPr/>
            </p:nvSpPr>
            <p:spPr>
              <a:xfrm>
                <a:off x="2571082" y="3557042"/>
                <a:ext cx="3534140" cy="43088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Michael Milman</a:t>
                </a:r>
              </a:p>
              <a:p>
                <a:r>
                  <a:rPr lang="en-US" sz="1400" b="1" i="1" dirty="0">
                    <a:solidFill>
                      <a:schemeClr val="bg1"/>
                    </a:solidFill>
                    <a:latin typeface="Arial" panose="020B0604020202020204" pitchFamily="34" charset="0"/>
                    <a:cs typeface="Arial" panose="020B0604020202020204" pitchFamily="34" charset="0"/>
                  </a:rPr>
                  <a:t>VP Research &amp; Development</a:t>
                </a:r>
              </a:p>
            </p:txBody>
          </p:sp>
          <p:sp>
            <p:nvSpPr>
              <p:cNvPr id="18" name="TextBox 17">
                <a:extLst>
                  <a:ext uri="{FF2B5EF4-FFF2-40B4-BE49-F238E27FC236}">
                    <a16:creationId xmlns:a16="http://schemas.microsoft.com/office/drawing/2014/main" id="{97BC65A0-7457-4CF0-BBC1-14A17EFC4102}"/>
                  </a:ext>
                </a:extLst>
              </p:cNvPr>
              <p:cNvSpPr txBox="1"/>
              <p:nvPr/>
            </p:nvSpPr>
            <p:spPr>
              <a:xfrm>
                <a:off x="2584534" y="4015681"/>
                <a:ext cx="3151316" cy="5539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10+ years Nephros, 15+ years design and dev.</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R&amp;D engineer with Stryker</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BS Mechanical Engineering, Lehigh University</a:t>
                </a:r>
              </a:p>
            </p:txBody>
          </p:sp>
        </p:grpSp>
        <p:sp>
          <p:nvSpPr>
            <p:cNvPr id="16" name="Isosceles Triangle 13">
              <a:extLst>
                <a:ext uri="{FF2B5EF4-FFF2-40B4-BE49-F238E27FC236}">
                  <a16:creationId xmlns:a16="http://schemas.microsoft.com/office/drawing/2014/main" id="{BD3D3401-127B-4B68-AAA8-94EE09249740}"/>
                </a:ext>
              </a:extLst>
            </p:cNvPr>
            <p:cNvSpPr/>
            <p:nvPr/>
          </p:nvSpPr>
          <p:spPr>
            <a:xfrm rot="5400000">
              <a:off x="2497818" y="3811530"/>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grpSp>
        <p:nvGrpSpPr>
          <p:cNvPr id="19" name="Group 18">
            <a:extLst>
              <a:ext uri="{FF2B5EF4-FFF2-40B4-BE49-F238E27FC236}">
                <a16:creationId xmlns:a16="http://schemas.microsoft.com/office/drawing/2014/main" id="{EAE99EF3-5B48-417A-8112-BFFD740401CC}"/>
              </a:ext>
            </a:extLst>
          </p:cNvPr>
          <p:cNvGrpSpPr/>
          <p:nvPr/>
        </p:nvGrpSpPr>
        <p:grpSpPr>
          <a:xfrm>
            <a:off x="355803" y="5010098"/>
            <a:ext cx="4526088" cy="997373"/>
            <a:chOff x="2601163" y="5048948"/>
            <a:chExt cx="4526088" cy="997375"/>
          </a:xfrm>
        </p:grpSpPr>
        <p:sp>
          <p:nvSpPr>
            <p:cNvPr id="20" name="Isosceles Triangle 19">
              <a:extLst>
                <a:ext uri="{FF2B5EF4-FFF2-40B4-BE49-F238E27FC236}">
                  <a16:creationId xmlns:a16="http://schemas.microsoft.com/office/drawing/2014/main" id="{002EC39B-A62D-4C67-AEBF-0779520C31A5}"/>
                </a:ext>
              </a:extLst>
            </p:cNvPr>
            <p:cNvSpPr/>
            <p:nvPr/>
          </p:nvSpPr>
          <p:spPr>
            <a:xfrm rot="5400000">
              <a:off x="2494936" y="5430228"/>
              <a:ext cx="473337" cy="2608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grpSp>
          <p:nvGrpSpPr>
            <p:cNvPr id="21" name="Group 20">
              <a:extLst>
                <a:ext uri="{FF2B5EF4-FFF2-40B4-BE49-F238E27FC236}">
                  <a16:creationId xmlns:a16="http://schemas.microsoft.com/office/drawing/2014/main" id="{6C40CF37-A960-4447-A024-1DA1715CE488}"/>
                </a:ext>
              </a:extLst>
            </p:cNvPr>
            <p:cNvGrpSpPr/>
            <p:nvPr/>
          </p:nvGrpSpPr>
          <p:grpSpPr>
            <a:xfrm>
              <a:off x="3104566" y="5048948"/>
              <a:ext cx="4022685" cy="997375"/>
              <a:chOff x="2581136" y="5132753"/>
              <a:chExt cx="4180114" cy="997375"/>
            </a:xfrm>
          </p:grpSpPr>
          <p:sp>
            <p:nvSpPr>
              <p:cNvPr id="22" name="TextBox 21">
                <a:extLst>
                  <a:ext uri="{FF2B5EF4-FFF2-40B4-BE49-F238E27FC236}">
                    <a16:creationId xmlns:a16="http://schemas.microsoft.com/office/drawing/2014/main" id="{DB540D65-E362-4E79-AB9C-3AB16A3262CA}"/>
                  </a:ext>
                </a:extLst>
              </p:cNvPr>
              <p:cNvSpPr txBox="1"/>
              <p:nvPr/>
            </p:nvSpPr>
            <p:spPr>
              <a:xfrm>
                <a:off x="2581136" y="5132753"/>
                <a:ext cx="4062611" cy="4308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Vashone Thomas</a:t>
                </a:r>
              </a:p>
              <a:p>
                <a:r>
                  <a:rPr lang="en-US" sz="1400" b="1" i="1" dirty="0">
                    <a:solidFill>
                      <a:schemeClr val="bg1"/>
                    </a:solidFill>
                    <a:latin typeface="Arial" panose="020B0604020202020204" pitchFamily="34" charset="0"/>
                    <a:cs typeface="Arial" panose="020B0604020202020204" pitchFamily="34" charset="0"/>
                  </a:rPr>
                  <a:t>VP Quality and Regulatory</a:t>
                </a:r>
              </a:p>
            </p:txBody>
          </p:sp>
          <p:sp>
            <p:nvSpPr>
              <p:cNvPr id="23" name="TextBox 22">
                <a:extLst>
                  <a:ext uri="{FF2B5EF4-FFF2-40B4-BE49-F238E27FC236}">
                    <a16:creationId xmlns:a16="http://schemas.microsoft.com/office/drawing/2014/main" id="{A21A271B-1975-4475-8DB4-22846501F50B}"/>
                  </a:ext>
                </a:extLst>
              </p:cNvPr>
              <p:cNvSpPr txBox="1"/>
              <p:nvPr/>
            </p:nvSpPr>
            <p:spPr>
              <a:xfrm>
                <a:off x="2581136" y="5576129"/>
                <a:ext cx="4180114" cy="5539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eviously Integrated Dental Systems</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10+ years quality leadership</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MS Pace University</a:t>
                </a:r>
              </a:p>
            </p:txBody>
          </p:sp>
        </p:grpSp>
      </p:grpSp>
      <p:grpSp>
        <p:nvGrpSpPr>
          <p:cNvPr id="24" name="Group 23">
            <a:extLst>
              <a:ext uri="{FF2B5EF4-FFF2-40B4-BE49-F238E27FC236}">
                <a16:creationId xmlns:a16="http://schemas.microsoft.com/office/drawing/2014/main" id="{F93C78FC-6023-4D40-9F26-C795FB7B8896}"/>
              </a:ext>
            </a:extLst>
          </p:cNvPr>
          <p:cNvGrpSpPr/>
          <p:nvPr/>
        </p:nvGrpSpPr>
        <p:grpSpPr>
          <a:xfrm>
            <a:off x="4977589" y="1004954"/>
            <a:ext cx="4351813" cy="979541"/>
            <a:chOff x="7429024" y="337223"/>
            <a:chExt cx="4351812" cy="979540"/>
          </a:xfrm>
        </p:grpSpPr>
        <p:grpSp>
          <p:nvGrpSpPr>
            <p:cNvPr id="25" name="Group 24">
              <a:extLst>
                <a:ext uri="{FF2B5EF4-FFF2-40B4-BE49-F238E27FC236}">
                  <a16:creationId xmlns:a16="http://schemas.microsoft.com/office/drawing/2014/main" id="{B3588C40-1DA1-459C-ACEE-FB000FCBE872}"/>
                </a:ext>
              </a:extLst>
            </p:cNvPr>
            <p:cNvGrpSpPr/>
            <p:nvPr/>
          </p:nvGrpSpPr>
          <p:grpSpPr>
            <a:xfrm>
              <a:off x="7856677" y="337223"/>
              <a:ext cx="3924159" cy="979540"/>
              <a:chOff x="2569146" y="2556567"/>
              <a:chExt cx="4180114" cy="979540"/>
            </a:xfrm>
          </p:grpSpPr>
          <p:sp>
            <p:nvSpPr>
              <p:cNvPr id="27" name="TextBox 26">
                <a:extLst>
                  <a:ext uri="{FF2B5EF4-FFF2-40B4-BE49-F238E27FC236}">
                    <a16:creationId xmlns:a16="http://schemas.microsoft.com/office/drawing/2014/main" id="{073A17CB-8230-4AD2-AFAE-25AD97D90FDB}"/>
                  </a:ext>
                </a:extLst>
              </p:cNvPr>
              <p:cNvSpPr txBox="1"/>
              <p:nvPr/>
            </p:nvSpPr>
            <p:spPr>
              <a:xfrm>
                <a:off x="2571079" y="2556567"/>
                <a:ext cx="3534142" cy="43088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Shane Sullivan</a:t>
                </a:r>
              </a:p>
              <a:p>
                <a:r>
                  <a:rPr lang="en-US" sz="1400" b="1" i="1" dirty="0">
                    <a:solidFill>
                      <a:schemeClr val="bg1"/>
                    </a:solidFill>
                    <a:latin typeface="Arial" panose="020B0604020202020204" pitchFamily="34" charset="0"/>
                    <a:cs typeface="Arial" panose="020B0604020202020204" pitchFamily="34" charset="0"/>
                  </a:rPr>
                  <a:t>VP Sales</a:t>
                </a:r>
              </a:p>
            </p:txBody>
          </p:sp>
          <p:sp>
            <p:nvSpPr>
              <p:cNvPr id="28" name="TextBox 27">
                <a:extLst>
                  <a:ext uri="{FF2B5EF4-FFF2-40B4-BE49-F238E27FC236}">
                    <a16:creationId xmlns:a16="http://schemas.microsoft.com/office/drawing/2014/main" id="{2C92354B-E8B7-4F89-840E-F5394815C8C3}"/>
                  </a:ext>
                </a:extLst>
              </p:cNvPr>
              <p:cNvSpPr txBox="1"/>
              <p:nvPr/>
            </p:nvSpPr>
            <p:spPr>
              <a:xfrm>
                <a:off x="2569146" y="2982109"/>
                <a:ext cx="4180114" cy="55399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Nephros 7+ years</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10 years Regional Manager at Thermo Scientific</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BS Business, USC</a:t>
                </a:r>
              </a:p>
            </p:txBody>
          </p:sp>
        </p:grpSp>
        <p:sp>
          <p:nvSpPr>
            <p:cNvPr id="26" name="Isosceles Triangle 13">
              <a:extLst>
                <a:ext uri="{FF2B5EF4-FFF2-40B4-BE49-F238E27FC236}">
                  <a16:creationId xmlns:a16="http://schemas.microsoft.com/office/drawing/2014/main" id="{4C324D8E-5E7C-49A7-9EBB-0D1EC54D6387}"/>
                </a:ext>
              </a:extLst>
            </p:cNvPr>
            <p:cNvSpPr/>
            <p:nvPr/>
          </p:nvSpPr>
          <p:spPr>
            <a:xfrm rot="5400000">
              <a:off x="7326516" y="717186"/>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grpSp>
        <p:nvGrpSpPr>
          <p:cNvPr id="30" name="Group 29">
            <a:extLst>
              <a:ext uri="{FF2B5EF4-FFF2-40B4-BE49-F238E27FC236}">
                <a16:creationId xmlns:a16="http://schemas.microsoft.com/office/drawing/2014/main" id="{43860DA5-1D9E-4F8E-B191-F2CACFC39257}"/>
              </a:ext>
            </a:extLst>
          </p:cNvPr>
          <p:cNvGrpSpPr/>
          <p:nvPr/>
        </p:nvGrpSpPr>
        <p:grpSpPr>
          <a:xfrm>
            <a:off x="5397585" y="3617218"/>
            <a:ext cx="4137382" cy="988600"/>
            <a:chOff x="7741973" y="360518"/>
            <a:chExt cx="4180114" cy="988599"/>
          </a:xfrm>
        </p:grpSpPr>
        <p:sp>
          <p:nvSpPr>
            <p:cNvPr id="32" name="TextBox 31">
              <a:extLst>
                <a:ext uri="{FF2B5EF4-FFF2-40B4-BE49-F238E27FC236}">
                  <a16:creationId xmlns:a16="http://schemas.microsoft.com/office/drawing/2014/main" id="{5F379FE0-8742-4523-9C0B-EC9C4848A51E}"/>
                </a:ext>
              </a:extLst>
            </p:cNvPr>
            <p:cNvSpPr txBox="1"/>
            <p:nvPr/>
          </p:nvSpPr>
          <p:spPr>
            <a:xfrm>
              <a:off x="7741973" y="795118"/>
              <a:ext cx="4180114" cy="5539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Molecular genetics, pathogen detection, food safety</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rofessor of Microbiology/Epidemiology, U Nevada </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PhD Epidemiology</a:t>
              </a:r>
            </a:p>
          </p:txBody>
        </p:sp>
        <p:sp>
          <p:nvSpPr>
            <p:cNvPr id="33" name="TextBox 32">
              <a:extLst>
                <a:ext uri="{FF2B5EF4-FFF2-40B4-BE49-F238E27FC236}">
                  <a16:creationId xmlns:a16="http://schemas.microsoft.com/office/drawing/2014/main" id="{866380C2-A37C-4507-99F9-03B053B968FE}"/>
                </a:ext>
              </a:extLst>
            </p:cNvPr>
            <p:cNvSpPr txBox="1"/>
            <p:nvPr/>
          </p:nvSpPr>
          <p:spPr>
            <a:xfrm>
              <a:off x="7741973" y="360518"/>
              <a:ext cx="2816155" cy="43088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Kimothy Smith</a:t>
              </a:r>
              <a:br>
                <a:rPr lang="en-US" sz="1400" b="1" dirty="0">
                  <a:solidFill>
                    <a:schemeClr val="bg1"/>
                  </a:solidFill>
                  <a:latin typeface="Arial" panose="020B0604020202020204" pitchFamily="34" charset="0"/>
                  <a:cs typeface="Arial" panose="020B0604020202020204" pitchFamily="34" charset="0"/>
                </a:rPr>
              </a:br>
              <a:r>
                <a:rPr lang="en-US" sz="1400" b="1" i="1" dirty="0">
                  <a:solidFill>
                    <a:schemeClr val="bg1"/>
                  </a:solidFill>
                  <a:latin typeface="Arial" panose="020B0604020202020204" pitchFamily="34" charset="0"/>
                  <a:cs typeface="Arial" panose="020B0604020202020204" pitchFamily="34" charset="0"/>
                </a:rPr>
                <a:t>VP Pathogen Detection Products</a:t>
              </a:r>
            </a:p>
          </p:txBody>
        </p:sp>
      </p:grpSp>
      <p:grpSp>
        <p:nvGrpSpPr>
          <p:cNvPr id="34" name="Group 33">
            <a:extLst>
              <a:ext uri="{FF2B5EF4-FFF2-40B4-BE49-F238E27FC236}">
                <a16:creationId xmlns:a16="http://schemas.microsoft.com/office/drawing/2014/main" id="{558EE756-72C2-462D-ABDC-8791B52C52C3}"/>
              </a:ext>
            </a:extLst>
          </p:cNvPr>
          <p:cNvGrpSpPr/>
          <p:nvPr/>
        </p:nvGrpSpPr>
        <p:grpSpPr>
          <a:xfrm>
            <a:off x="4987059" y="2334107"/>
            <a:ext cx="4566944" cy="789570"/>
            <a:chOff x="7429023" y="3531643"/>
            <a:chExt cx="4566944" cy="789569"/>
          </a:xfrm>
        </p:grpSpPr>
        <p:grpSp>
          <p:nvGrpSpPr>
            <p:cNvPr id="35" name="Group 34">
              <a:extLst>
                <a:ext uri="{FF2B5EF4-FFF2-40B4-BE49-F238E27FC236}">
                  <a16:creationId xmlns:a16="http://schemas.microsoft.com/office/drawing/2014/main" id="{22393F2F-D28E-4B3C-8076-DC3E4317C09C}"/>
                </a:ext>
              </a:extLst>
            </p:cNvPr>
            <p:cNvGrpSpPr/>
            <p:nvPr/>
          </p:nvGrpSpPr>
          <p:grpSpPr>
            <a:xfrm>
              <a:off x="7858586" y="3531643"/>
              <a:ext cx="4137381" cy="789569"/>
              <a:chOff x="7742069" y="1628909"/>
              <a:chExt cx="4180114" cy="789569"/>
            </a:xfrm>
          </p:grpSpPr>
          <p:sp>
            <p:nvSpPr>
              <p:cNvPr id="37" name="TextBox 36">
                <a:extLst>
                  <a:ext uri="{FF2B5EF4-FFF2-40B4-BE49-F238E27FC236}">
                    <a16:creationId xmlns:a16="http://schemas.microsoft.com/office/drawing/2014/main" id="{31C4F2BF-E18A-40DF-898C-1432BD8EC258}"/>
                  </a:ext>
                </a:extLst>
              </p:cNvPr>
              <p:cNvSpPr txBox="1"/>
              <p:nvPr/>
            </p:nvSpPr>
            <p:spPr>
              <a:xfrm>
                <a:off x="7784341" y="1628909"/>
                <a:ext cx="2579700" cy="430886"/>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Greg Lucas</a:t>
                </a:r>
                <a:br>
                  <a:rPr lang="en-US" sz="1400" b="1" dirty="0">
                    <a:solidFill>
                      <a:schemeClr val="bg1"/>
                    </a:solidFill>
                    <a:latin typeface="Arial" panose="020B0604020202020204" pitchFamily="34" charset="0"/>
                    <a:cs typeface="Arial" panose="020B0604020202020204" pitchFamily="34" charset="0"/>
                  </a:rPr>
                </a:br>
                <a:r>
                  <a:rPr lang="en-US" sz="1400" b="1" i="1" dirty="0">
                    <a:solidFill>
                      <a:schemeClr val="bg1"/>
                    </a:solidFill>
                    <a:latin typeface="Arial" panose="020B0604020202020204" pitchFamily="34" charset="0"/>
                    <a:cs typeface="Arial" panose="020B0604020202020204" pitchFamily="34" charset="0"/>
                  </a:rPr>
                  <a:t>President, Aether/Commercial</a:t>
                </a:r>
              </a:p>
            </p:txBody>
          </p:sp>
          <p:sp>
            <p:nvSpPr>
              <p:cNvPr id="38" name="TextBox 37">
                <a:extLst>
                  <a:ext uri="{FF2B5EF4-FFF2-40B4-BE49-F238E27FC236}">
                    <a16:creationId xmlns:a16="http://schemas.microsoft.com/office/drawing/2014/main" id="{6B7FE696-82C3-4F87-AF26-58921BC00392}"/>
                  </a:ext>
                </a:extLst>
              </p:cNvPr>
              <p:cNvSpPr txBox="1"/>
              <p:nvPr/>
            </p:nvSpPr>
            <p:spPr>
              <a:xfrm>
                <a:off x="7742069" y="2049147"/>
                <a:ext cx="4180114" cy="36933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Founder/Owner Biocon/Aether Water Systems</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Executive at Gallo Wines</a:t>
                </a:r>
              </a:p>
            </p:txBody>
          </p:sp>
        </p:grpSp>
        <p:sp>
          <p:nvSpPr>
            <p:cNvPr id="36" name="Isosceles Triangle 13">
              <a:extLst>
                <a:ext uri="{FF2B5EF4-FFF2-40B4-BE49-F238E27FC236}">
                  <a16:creationId xmlns:a16="http://schemas.microsoft.com/office/drawing/2014/main" id="{11BEF001-B683-4B7A-9BF0-7F274F6CBBE8}"/>
                </a:ext>
              </a:extLst>
            </p:cNvPr>
            <p:cNvSpPr/>
            <p:nvPr/>
          </p:nvSpPr>
          <p:spPr>
            <a:xfrm rot="5400000">
              <a:off x="7326515" y="3905844"/>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grpSp>
        <p:nvGrpSpPr>
          <p:cNvPr id="39" name="Group 38">
            <a:extLst>
              <a:ext uri="{FF2B5EF4-FFF2-40B4-BE49-F238E27FC236}">
                <a16:creationId xmlns:a16="http://schemas.microsoft.com/office/drawing/2014/main" id="{D77349F7-F8EB-49A5-A956-B9C745D2EE6E}"/>
              </a:ext>
            </a:extLst>
          </p:cNvPr>
          <p:cNvGrpSpPr/>
          <p:nvPr/>
        </p:nvGrpSpPr>
        <p:grpSpPr>
          <a:xfrm>
            <a:off x="5053080" y="5000963"/>
            <a:ext cx="3957627" cy="1007281"/>
            <a:chOff x="7429023" y="5111831"/>
            <a:chExt cx="5034407" cy="1007280"/>
          </a:xfrm>
        </p:grpSpPr>
        <p:grpSp>
          <p:nvGrpSpPr>
            <p:cNvPr id="40" name="Group 39">
              <a:extLst>
                <a:ext uri="{FF2B5EF4-FFF2-40B4-BE49-F238E27FC236}">
                  <a16:creationId xmlns:a16="http://schemas.microsoft.com/office/drawing/2014/main" id="{919DEF56-5B24-4FEB-8B4D-C8AC9191DB2C}"/>
                </a:ext>
              </a:extLst>
            </p:cNvPr>
            <p:cNvGrpSpPr/>
            <p:nvPr/>
          </p:nvGrpSpPr>
          <p:grpSpPr>
            <a:xfrm>
              <a:off x="7858491" y="5111831"/>
              <a:ext cx="4604939" cy="1007280"/>
              <a:chOff x="2561856" y="3567625"/>
              <a:chExt cx="4652502" cy="1007280"/>
            </a:xfrm>
          </p:grpSpPr>
          <p:sp>
            <p:nvSpPr>
              <p:cNvPr id="42" name="TextBox 41">
                <a:extLst>
                  <a:ext uri="{FF2B5EF4-FFF2-40B4-BE49-F238E27FC236}">
                    <a16:creationId xmlns:a16="http://schemas.microsoft.com/office/drawing/2014/main" id="{57E8FC1F-5D44-4C8B-B123-F111B5932617}"/>
                  </a:ext>
                </a:extLst>
              </p:cNvPr>
              <p:cNvSpPr txBox="1"/>
              <p:nvPr/>
            </p:nvSpPr>
            <p:spPr>
              <a:xfrm>
                <a:off x="2561856" y="3567625"/>
                <a:ext cx="4652502" cy="43088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r>
                  <a:rPr lang="en-US" sz="1400" b="1" dirty="0">
                    <a:solidFill>
                      <a:schemeClr val="bg1"/>
                    </a:solidFill>
                    <a:latin typeface="Arial" panose="020B0604020202020204" pitchFamily="34" charset="0"/>
                    <a:cs typeface="Arial" panose="020B0604020202020204" pitchFamily="34" charset="0"/>
                  </a:rPr>
                  <a:t>Tony Robinson</a:t>
                </a:r>
              </a:p>
              <a:p>
                <a:r>
                  <a:rPr lang="en-US" sz="1400" b="1" i="1" dirty="0">
                    <a:solidFill>
                      <a:schemeClr val="bg1"/>
                    </a:solidFill>
                    <a:latin typeface="Arial" panose="020B0604020202020204" pitchFamily="34" charset="0"/>
                    <a:cs typeface="Arial" panose="020B0604020202020204" pitchFamily="34" charset="0"/>
                  </a:rPr>
                  <a:t>VP Operations, Specialty Renal Products</a:t>
                </a:r>
              </a:p>
            </p:txBody>
          </p:sp>
          <p:sp>
            <p:nvSpPr>
              <p:cNvPr id="43" name="TextBox 42">
                <a:extLst>
                  <a:ext uri="{FF2B5EF4-FFF2-40B4-BE49-F238E27FC236}">
                    <a16:creationId xmlns:a16="http://schemas.microsoft.com/office/drawing/2014/main" id="{E04C29BB-6B36-4E8C-8B16-6BAA1ADEF7D2}"/>
                  </a:ext>
                </a:extLst>
              </p:cNvPr>
              <p:cNvSpPr txBox="1"/>
              <p:nvPr/>
            </p:nvSpPr>
            <p:spPr>
              <a:xfrm>
                <a:off x="2561857" y="4020908"/>
                <a:ext cx="4652501" cy="553997"/>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rtlCol="0" anchor="t" anchorCtr="0">
                <a:spAutoFit/>
              </a:bodyPr>
              <a:lstStyle/>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Expert in medical device development</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FDA clearance experience</a:t>
                </a:r>
              </a:p>
              <a:p>
                <a:pPr marL="171446" indent="-171446">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15 years of leadership roles</a:t>
                </a:r>
              </a:p>
            </p:txBody>
          </p:sp>
        </p:grpSp>
        <p:sp>
          <p:nvSpPr>
            <p:cNvPr id="41" name="Isosceles Triangle 14">
              <a:extLst>
                <a:ext uri="{FF2B5EF4-FFF2-40B4-BE49-F238E27FC236}">
                  <a16:creationId xmlns:a16="http://schemas.microsoft.com/office/drawing/2014/main" id="{8F5378D0-B268-4DEB-B0C4-8D9D398BA997}"/>
                </a:ext>
              </a:extLst>
            </p:cNvPr>
            <p:cNvSpPr/>
            <p:nvPr/>
          </p:nvSpPr>
          <p:spPr>
            <a:xfrm rot="5400000">
              <a:off x="7326515" y="5491289"/>
              <a:ext cx="473337" cy="268322"/>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sp>
        <p:nvSpPr>
          <p:cNvPr id="44" name="Isosceles Triangle 13">
            <a:extLst>
              <a:ext uri="{FF2B5EF4-FFF2-40B4-BE49-F238E27FC236}">
                <a16:creationId xmlns:a16="http://schemas.microsoft.com/office/drawing/2014/main" id="{AB59483A-98A7-4F80-BE33-E489861E54C5}"/>
              </a:ext>
            </a:extLst>
          </p:cNvPr>
          <p:cNvSpPr/>
          <p:nvPr/>
        </p:nvSpPr>
        <p:spPr>
          <a:xfrm rot="5400000">
            <a:off x="263706" y="1089446"/>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5" name="Isosceles Triangle 13">
            <a:extLst>
              <a:ext uri="{FF2B5EF4-FFF2-40B4-BE49-F238E27FC236}">
                <a16:creationId xmlns:a16="http://schemas.microsoft.com/office/drawing/2014/main" id="{DBED107F-A534-460A-B73A-53E41F83E6F0}"/>
              </a:ext>
            </a:extLst>
          </p:cNvPr>
          <p:cNvSpPr/>
          <p:nvPr/>
        </p:nvSpPr>
        <p:spPr>
          <a:xfrm rot="5400000">
            <a:off x="251130" y="2450800"/>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6" name="Isosceles Triangle 13">
            <a:extLst>
              <a:ext uri="{FF2B5EF4-FFF2-40B4-BE49-F238E27FC236}">
                <a16:creationId xmlns:a16="http://schemas.microsoft.com/office/drawing/2014/main" id="{36025736-D137-4462-8DDC-9A2DADC130F9}"/>
              </a:ext>
            </a:extLst>
          </p:cNvPr>
          <p:cNvSpPr/>
          <p:nvPr/>
        </p:nvSpPr>
        <p:spPr>
          <a:xfrm rot="5400000">
            <a:off x="255855" y="3729597"/>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7" name="Isosceles Triangle 13">
            <a:extLst>
              <a:ext uri="{FF2B5EF4-FFF2-40B4-BE49-F238E27FC236}">
                <a16:creationId xmlns:a16="http://schemas.microsoft.com/office/drawing/2014/main" id="{662C51B5-672D-417B-8A04-C6452B7E497E}"/>
              </a:ext>
            </a:extLst>
          </p:cNvPr>
          <p:cNvSpPr/>
          <p:nvPr/>
        </p:nvSpPr>
        <p:spPr>
          <a:xfrm rot="5400000">
            <a:off x="277429" y="5074250"/>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8" name="Isosceles Triangle 13">
            <a:extLst>
              <a:ext uri="{FF2B5EF4-FFF2-40B4-BE49-F238E27FC236}">
                <a16:creationId xmlns:a16="http://schemas.microsoft.com/office/drawing/2014/main" id="{645A7C23-4A68-4F96-B5DA-DF7D34AF9080}"/>
              </a:ext>
            </a:extLst>
          </p:cNvPr>
          <p:cNvSpPr/>
          <p:nvPr/>
        </p:nvSpPr>
        <p:spPr>
          <a:xfrm rot="5400000">
            <a:off x="4904300" y="1078243"/>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49" name="Isosceles Triangle 13">
            <a:extLst>
              <a:ext uri="{FF2B5EF4-FFF2-40B4-BE49-F238E27FC236}">
                <a16:creationId xmlns:a16="http://schemas.microsoft.com/office/drawing/2014/main" id="{044301FE-E35E-42B1-95B9-072FE582B794}"/>
              </a:ext>
            </a:extLst>
          </p:cNvPr>
          <p:cNvSpPr/>
          <p:nvPr/>
        </p:nvSpPr>
        <p:spPr>
          <a:xfrm rot="5400000">
            <a:off x="4917174" y="2386826"/>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50" name="Isosceles Triangle 13">
            <a:extLst>
              <a:ext uri="{FF2B5EF4-FFF2-40B4-BE49-F238E27FC236}">
                <a16:creationId xmlns:a16="http://schemas.microsoft.com/office/drawing/2014/main" id="{D88A93D1-4789-441E-8E37-EE5BA06D9C6E}"/>
              </a:ext>
            </a:extLst>
          </p:cNvPr>
          <p:cNvSpPr/>
          <p:nvPr/>
        </p:nvSpPr>
        <p:spPr>
          <a:xfrm rot="5400000">
            <a:off x="4904299" y="3707883"/>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51" name="Isosceles Triangle 13">
            <a:extLst>
              <a:ext uri="{FF2B5EF4-FFF2-40B4-BE49-F238E27FC236}">
                <a16:creationId xmlns:a16="http://schemas.microsoft.com/office/drawing/2014/main" id="{F7097D29-E8B3-4F25-A124-A7C11025E0C7}"/>
              </a:ext>
            </a:extLst>
          </p:cNvPr>
          <p:cNvSpPr/>
          <p:nvPr/>
        </p:nvSpPr>
        <p:spPr>
          <a:xfrm rot="5400000">
            <a:off x="4855100" y="5074252"/>
            <a:ext cx="271267" cy="124690"/>
          </a:xfrm>
          <a:prstGeom prst="triangle">
            <a:avLst/>
          </a:prstGeom>
          <a:solidFill>
            <a:srgbClr val="FDDA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54" name="Picture 53" descr="A picture containing clipart&#10;&#10;Description automatically generated">
            <a:extLst>
              <a:ext uri="{FF2B5EF4-FFF2-40B4-BE49-F238E27FC236}">
                <a16:creationId xmlns:a16="http://schemas.microsoft.com/office/drawing/2014/main" id="{7888E6B0-5686-4682-9B06-E3581D03BF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3153" y="426988"/>
            <a:ext cx="1311820" cy="371270"/>
          </a:xfrm>
          <a:prstGeom prst="rect">
            <a:avLst/>
          </a:prstGeom>
        </p:spPr>
      </p:pic>
      <p:sp>
        <p:nvSpPr>
          <p:cNvPr id="52" name="Title 2">
            <a:extLst>
              <a:ext uri="{FF2B5EF4-FFF2-40B4-BE49-F238E27FC236}">
                <a16:creationId xmlns:a16="http://schemas.microsoft.com/office/drawing/2014/main" id="{DF836B33-89EE-0843-9ABA-5880E9C492B3}"/>
              </a:ext>
            </a:extLst>
          </p:cNvPr>
          <p:cNvSpPr txBox="1">
            <a:spLocks/>
          </p:cNvSpPr>
          <p:nvPr/>
        </p:nvSpPr>
        <p:spPr>
          <a:xfrm>
            <a:off x="269027" y="245147"/>
            <a:ext cx="7801527" cy="41549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spAutoFit/>
          </a:bodyPr>
          <a:lstStyle>
            <a:lvl1pPr algn="l" defTabSz="914377" rtl="0" eaLnBrk="1" latinLnBrk="0" hangingPunct="1">
              <a:lnSpc>
                <a:spcPct val="90000"/>
              </a:lnSpc>
              <a:spcBef>
                <a:spcPct val="0"/>
              </a:spcBef>
              <a:buNone/>
              <a:defRPr lang="en-US" sz="3000" kern="1200">
                <a:solidFill>
                  <a:schemeClr val="accent2"/>
                </a:solidFill>
                <a:latin typeface="+mj-lt"/>
                <a:ea typeface="+mj-ea"/>
                <a:cs typeface="+mj-cs"/>
              </a:defRPr>
            </a:lvl1pPr>
          </a:lstStyle>
          <a:p>
            <a:r>
              <a:rPr lang="en-US" dirty="0">
                <a:solidFill>
                  <a:schemeClr val="bg1"/>
                </a:solidFill>
              </a:rPr>
              <a:t>Management Team</a:t>
            </a:r>
            <a:endParaRPr lang="en-US" dirty="0">
              <a:solidFill>
                <a:srgbClr val="FF0000"/>
              </a:solidFill>
            </a:endParaRPr>
          </a:p>
        </p:txBody>
      </p:sp>
      <p:sp>
        <p:nvSpPr>
          <p:cNvPr id="53" name="Slide Number Placeholder 1">
            <a:extLst>
              <a:ext uri="{FF2B5EF4-FFF2-40B4-BE49-F238E27FC236}">
                <a16:creationId xmlns:a16="http://schemas.microsoft.com/office/drawing/2014/main" id="{ECB267E1-2A9E-9C4B-BBA6-175EE86A78EB}"/>
              </a:ext>
            </a:extLst>
          </p:cNvPr>
          <p:cNvSpPr txBox="1">
            <a:spLocks/>
          </p:cNvSpPr>
          <p:nvPr/>
        </p:nvSpPr>
        <p:spPr>
          <a:xfrm>
            <a:off x="185759" y="6501179"/>
            <a:ext cx="267085"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703025F-5038-48A2-8F2E-D28A39FB9727}" type="slidenum">
              <a:rPr lang="en-US" smtClean="0">
                <a:solidFill>
                  <a:schemeClr val="bg1"/>
                </a:solidFill>
              </a:rPr>
              <a:pPr/>
              <a:t>4</a:t>
            </a:fld>
            <a:endParaRPr lang="en-US" dirty="0">
              <a:solidFill>
                <a:schemeClr val="bg1"/>
              </a:solidFill>
            </a:endParaRPr>
          </a:p>
        </p:txBody>
      </p:sp>
      <p:sp>
        <p:nvSpPr>
          <p:cNvPr id="55" name="Rounded Rectangle 54">
            <a:extLst>
              <a:ext uri="{FF2B5EF4-FFF2-40B4-BE49-F238E27FC236}">
                <a16:creationId xmlns:a16="http://schemas.microsoft.com/office/drawing/2014/main" id="{CC1DCDAF-DDD1-744B-B3F8-9CD7E7C69711}"/>
              </a:ext>
            </a:extLst>
          </p:cNvPr>
          <p:cNvSpPr/>
          <p:nvPr/>
        </p:nvSpPr>
        <p:spPr>
          <a:xfrm>
            <a:off x="151860" y="898196"/>
            <a:ext cx="4457990"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ounded Rectangle 55">
            <a:extLst>
              <a:ext uri="{FF2B5EF4-FFF2-40B4-BE49-F238E27FC236}">
                <a16:creationId xmlns:a16="http://schemas.microsoft.com/office/drawing/2014/main" id="{19E2439E-3DE1-C54D-9611-D6FD4CAC504C}"/>
              </a:ext>
            </a:extLst>
          </p:cNvPr>
          <p:cNvSpPr/>
          <p:nvPr/>
        </p:nvSpPr>
        <p:spPr>
          <a:xfrm>
            <a:off x="151860" y="2279874"/>
            <a:ext cx="4457991"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ed Rectangle 56">
            <a:extLst>
              <a:ext uri="{FF2B5EF4-FFF2-40B4-BE49-F238E27FC236}">
                <a16:creationId xmlns:a16="http://schemas.microsoft.com/office/drawing/2014/main" id="{373EDCB8-8C52-B14E-9D90-C9BEFDE834B3}"/>
              </a:ext>
            </a:extLst>
          </p:cNvPr>
          <p:cNvSpPr/>
          <p:nvPr/>
        </p:nvSpPr>
        <p:spPr>
          <a:xfrm>
            <a:off x="4816835" y="898196"/>
            <a:ext cx="4259275"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ounded Rectangle 57">
            <a:extLst>
              <a:ext uri="{FF2B5EF4-FFF2-40B4-BE49-F238E27FC236}">
                <a16:creationId xmlns:a16="http://schemas.microsoft.com/office/drawing/2014/main" id="{8A2D758B-C185-CC4D-A10D-9682644BA3FB}"/>
              </a:ext>
            </a:extLst>
          </p:cNvPr>
          <p:cNvSpPr/>
          <p:nvPr/>
        </p:nvSpPr>
        <p:spPr>
          <a:xfrm>
            <a:off x="4816835" y="2279874"/>
            <a:ext cx="4259275"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ounded Rectangle 58">
            <a:extLst>
              <a:ext uri="{FF2B5EF4-FFF2-40B4-BE49-F238E27FC236}">
                <a16:creationId xmlns:a16="http://schemas.microsoft.com/office/drawing/2014/main" id="{21F1D847-07E8-CA47-BF6D-FFC51F8552EF}"/>
              </a:ext>
            </a:extLst>
          </p:cNvPr>
          <p:cNvSpPr/>
          <p:nvPr/>
        </p:nvSpPr>
        <p:spPr>
          <a:xfrm>
            <a:off x="4816835" y="3589469"/>
            <a:ext cx="4259275"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ounded Rectangle 59">
            <a:extLst>
              <a:ext uri="{FF2B5EF4-FFF2-40B4-BE49-F238E27FC236}">
                <a16:creationId xmlns:a16="http://schemas.microsoft.com/office/drawing/2014/main" id="{423F6862-9900-CA4F-AF72-DBE6C83A6ADC}"/>
              </a:ext>
            </a:extLst>
          </p:cNvPr>
          <p:cNvSpPr/>
          <p:nvPr/>
        </p:nvSpPr>
        <p:spPr>
          <a:xfrm>
            <a:off x="4816835" y="4909525"/>
            <a:ext cx="4259275" cy="116287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2111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7C4B40-C287-4F3E-92CC-2D54F9F93605}"/>
              </a:ext>
            </a:extLst>
          </p:cNvPr>
          <p:cNvGraphicFramePr>
            <a:graphicFrameLocks noChangeAspect="1"/>
          </p:cNvGraphicFramePr>
          <p:nvPr>
            <p:custDataLst>
              <p:tags r:id="rId2"/>
            </p:custDataLst>
          </p:nvPr>
        </p:nvGraphicFramePr>
        <p:xfrm>
          <a:off x="-1522409" y="1591"/>
          <a:ext cx="1588" cy="1588"/>
        </p:xfrm>
        <a:graphic>
          <a:graphicData uri="http://schemas.openxmlformats.org/presentationml/2006/ole">
            <mc:AlternateContent xmlns:mc="http://schemas.openxmlformats.org/markup-compatibility/2006">
              <mc:Choice xmlns:v="urn:schemas-microsoft-com:vml" Requires="v">
                <p:oleObj spid="_x0000_s44102" name="think-cell Slide" r:id="rId5" imgW="306" imgH="306" progId="TCLayout.ActiveDocument.1">
                  <p:embed/>
                </p:oleObj>
              </mc:Choice>
              <mc:Fallback>
                <p:oleObj name="think-cell Slide" r:id="rId5" imgW="306" imgH="306" progId="TCLayout.ActiveDocument.1">
                  <p:embed/>
                  <p:pic>
                    <p:nvPicPr>
                      <p:cNvPr id="5" name="Object 4" hidden="1">
                        <a:extLst>
                          <a:ext uri="{FF2B5EF4-FFF2-40B4-BE49-F238E27FC236}">
                            <a16:creationId xmlns:a16="http://schemas.microsoft.com/office/drawing/2014/main" id="{C77C4B40-C287-4F3E-92CC-2D54F9F93605}"/>
                          </a:ext>
                        </a:extLst>
                      </p:cNvPr>
                      <p:cNvPicPr/>
                      <p:nvPr/>
                    </p:nvPicPr>
                    <p:blipFill>
                      <a:blip r:embed="rId6"/>
                      <a:stretch>
                        <a:fillRect/>
                      </a:stretch>
                    </p:blipFill>
                    <p:spPr>
                      <a:xfrm>
                        <a:off x="-1522409" y="1591"/>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D953B1-DBC1-43C7-92F6-7D9E0B433D77}"/>
              </a:ext>
            </a:extLst>
          </p:cNvPr>
          <p:cNvSpPr>
            <a:spLocks noGrp="1"/>
          </p:cNvSpPr>
          <p:nvPr>
            <p:ph type="title"/>
          </p:nvPr>
        </p:nvSpPr>
        <p:spPr>
          <a:xfrm>
            <a:off x="185759" y="434294"/>
            <a:ext cx="7801527" cy="415498"/>
          </a:xfrm>
        </p:spPr>
        <p:txBody>
          <a:bodyPr/>
          <a:lstStyle/>
          <a:p>
            <a:r>
              <a:rPr lang="en-US" dirty="0"/>
              <a:t>Nephros: Three Business Segments</a:t>
            </a:r>
          </a:p>
        </p:txBody>
      </p:sp>
      <p:sp>
        <p:nvSpPr>
          <p:cNvPr id="2" name="Slide Number Placeholder 1">
            <a:extLst>
              <a:ext uri="{FF2B5EF4-FFF2-40B4-BE49-F238E27FC236}">
                <a16:creationId xmlns:a16="http://schemas.microsoft.com/office/drawing/2014/main" id="{839D72B7-46E5-457C-9A5E-7E2B22085FF0}"/>
              </a:ext>
            </a:extLst>
          </p:cNvPr>
          <p:cNvSpPr>
            <a:spLocks noGrp="1"/>
          </p:cNvSpPr>
          <p:nvPr>
            <p:ph type="sldNum" sz="quarter" idx="12"/>
          </p:nvPr>
        </p:nvSpPr>
        <p:spPr/>
        <p:txBody>
          <a:bodyPr/>
          <a:lstStyle/>
          <a:p>
            <a:fld id="{1703025F-5038-48A2-8F2E-D28A39FB9727}" type="slidenum">
              <a:rPr lang="en-US" smtClean="0"/>
              <a:pPr/>
              <a:t>5</a:t>
            </a:fld>
            <a:endParaRPr lang="en-US" dirty="0"/>
          </a:p>
        </p:txBody>
      </p:sp>
      <p:sp>
        <p:nvSpPr>
          <p:cNvPr id="11" name="Text Placeholder 3">
            <a:extLst>
              <a:ext uri="{FF2B5EF4-FFF2-40B4-BE49-F238E27FC236}">
                <a16:creationId xmlns:a16="http://schemas.microsoft.com/office/drawing/2014/main" id="{91C97A50-5C01-4FC1-95AC-1C6CAB2CA2E6}"/>
              </a:ext>
            </a:extLst>
          </p:cNvPr>
          <p:cNvSpPr txBox="1">
            <a:spLocks/>
          </p:cNvSpPr>
          <p:nvPr/>
        </p:nvSpPr>
        <p:spPr>
          <a:xfrm>
            <a:off x="185759" y="1164087"/>
            <a:ext cx="8668465" cy="40011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base">
              <a:lnSpc>
                <a:spcPct val="100000"/>
              </a:lnSpc>
              <a:spcBef>
                <a:spcPct val="0"/>
              </a:spcBef>
              <a:spcAft>
                <a:spcPct val="0"/>
              </a:spcAft>
            </a:pPr>
            <a:r>
              <a:rPr lang="en-US" sz="1300" i="1" dirty="0">
                <a:solidFill>
                  <a:srgbClr val="002060"/>
                </a:solidFill>
                <a:latin typeface="Arial" charset="0"/>
                <a:ea typeface="MS PGothic"/>
              </a:rPr>
              <a:t>Established and growing water filtration base business plus a recently launched pathogen detection product and potentially transformative dialysis device to be launched in 2020</a:t>
            </a:r>
          </a:p>
        </p:txBody>
      </p:sp>
      <p:sp>
        <p:nvSpPr>
          <p:cNvPr id="7" name="Rectangle 6">
            <a:extLst>
              <a:ext uri="{FF2B5EF4-FFF2-40B4-BE49-F238E27FC236}">
                <a16:creationId xmlns:a16="http://schemas.microsoft.com/office/drawing/2014/main" id="{E02D7E3F-A4B8-4232-BB17-A7BD2FF641D9}"/>
              </a:ext>
            </a:extLst>
          </p:cNvPr>
          <p:cNvSpPr/>
          <p:nvPr/>
        </p:nvSpPr>
        <p:spPr>
          <a:xfrm>
            <a:off x="517585" y="1975452"/>
            <a:ext cx="3485072" cy="365760"/>
          </a:xfrm>
          <a:prstGeom prst="rect">
            <a:avLst/>
          </a:prstGeom>
          <a:solidFill>
            <a:srgbClr val="0072C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ater Filtration</a:t>
            </a:r>
          </a:p>
        </p:txBody>
      </p:sp>
      <p:sp>
        <p:nvSpPr>
          <p:cNvPr id="16" name="Text Placeholder 3">
            <a:extLst>
              <a:ext uri="{FF2B5EF4-FFF2-40B4-BE49-F238E27FC236}">
                <a16:creationId xmlns:a16="http://schemas.microsoft.com/office/drawing/2014/main" id="{1C274E89-AD36-4F44-8AF8-0329BD0669D1}"/>
              </a:ext>
            </a:extLst>
          </p:cNvPr>
          <p:cNvSpPr txBox="1">
            <a:spLocks/>
          </p:cNvSpPr>
          <p:nvPr/>
        </p:nvSpPr>
        <p:spPr>
          <a:xfrm>
            <a:off x="517585" y="4107506"/>
            <a:ext cx="3485072" cy="217495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100% of historical revenue</a:t>
            </a:r>
          </a:p>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Recurring revenue: razor / razor blade model</a:t>
            </a:r>
          </a:p>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High gross margins (55-60%)</a:t>
            </a:r>
          </a:p>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Cash flow breakeven</a:t>
            </a:r>
          </a:p>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Impressive revenue growth: 62% average growth YoY for 15 consecutive quarters</a:t>
            </a:r>
          </a:p>
          <a:p>
            <a:pPr marL="285750" indent="-285750" fontAlgn="base">
              <a:lnSpc>
                <a:spcPct val="100000"/>
              </a:lnSpc>
              <a:spcBef>
                <a:spcPts val="800"/>
              </a:spcBef>
              <a:spcAft>
                <a:spcPct val="0"/>
              </a:spcAft>
              <a:buFont typeface="Wingdings" panose="05000000000000000000" pitchFamily="2" charset="2"/>
              <a:buChar char="§"/>
            </a:pPr>
            <a:r>
              <a:rPr lang="en-US" sz="1200" dirty="0">
                <a:solidFill>
                  <a:srgbClr val="002060"/>
                </a:solidFill>
                <a:latin typeface="Arial" charset="0"/>
                <a:ea typeface="MS PGothic"/>
              </a:rPr>
              <a:t>Growing end-markets: hospitals, hospitality / food service, dialysis</a:t>
            </a:r>
          </a:p>
        </p:txBody>
      </p:sp>
      <p:sp>
        <p:nvSpPr>
          <p:cNvPr id="17" name="Text Placeholder 3">
            <a:extLst>
              <a:ext uri="{FF2B5EF4-FFF2-40B4-BE49-F238E27FC236}">
                <a16:creationId xmlns:a16="http://schemas.microsoft.com/office/drawing/2014/main" id="{1309547A-030F-4642-9BF6-B07947B72165}"/>
              </a:ext>
            </a:extLst>
          </p:cNvPr>
          <p:cNvSpPr txBox="1">
            <a:spLocks/>
          </p:cNvSpPr>
          <p:nvPr/>
        </p:nvSpPr>
        <p:spPr>
          <a:xfrm>
            <a:off x="514714" y="2364940"/>
            <a:ext cx="3485072" cy="33855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100" i="1" dirty="0">
                <a:solidFill>
                  <a:schemeClr val="bg2">
                    <a:lumMod val="50000"/>
                  </a:schemeClr>
                </a:solidFill>
                <a:latin typeface="Arial" charset="0"/>
                <a:ea typeface="MS PGothic"/>
              </a:rPr>
              <a:t>Leading provider of ultrafilters to protect from waterborne pathogens</a:t>
            </a:r>
          </a:p>
        </p:txBody>
      </p:sp>
      <p:sp>
        <p:nvSpPr>
          <p:cNvPr id="19" name="Rectangle 18">
            <a:extLst>
              <a:ext uri="{FF2B5EF4-FFF2-40B4-BE49-F238E27FC236}">
                <a16:creationId xmlns:a16="http://schemas.microsoft.com/office/drawing/2014/main" id="{5FC6DD3E-5EFB-4EAE-B0C0-C938CA3BC973}"/>
              </a:ext>
            </a:extLst>
          </p:cNvPr>
          <p:cNvSpPr/>
          <p:nvPr/>
        </p:nvSpPr>
        <p:spPr>
          <a:xfrm>
            <a:off x="5060830" y="1975452"/>
            <a:ext cx="3485072" cy="365760"/>
          </a:xfrm>
          <a:prstGeom prst="rect">
            <a:avLst/>
          </a:prstGeom>
          <a:solidFill>
            <a:srgbClr val="28007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thogen Detection (PluraPath™)</a:t>
            </a:r>
          </a:p>
        </p:txBody>
      </p:sp>
      <p:sp>
        <p:nvSpPr>
          <p:cNvPr id="20" name="Text Placeholder 3">
            <a:extLst>
              <a:ext uri="{FF2B5EF4-FFF2-40B4-BE49-F238E27FC236}">
                <a16:creationId xmlns:a16="http://schemas.microsoft.com/office/drawing/2014/main" id="{7E46D6DF-72B0-46C1-BFBC-78A3E4D44F50}"/>
              </a:ext>
            </a:extLst>
          </p:cNvPr>
          <p:cNvSpPr txBox="1">
            <a:spLocks/>
          </p:cNvSpPr>
          <p:nvPr/>
        </p:nvSpPr>
        <p:spPr>
          <a:xfrm>
            <a:off x="514714" y="1685832"/>
            <a:ext cx="3485072"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0072CE"/>
                </a:solidFill>
                <a:latin typeface="Arial" charset="0"/>
                <a:ea typeface="MS PGothic"/>
              </a:rPr>
              <a:t>Growing Base Business</a:t>
            </a:r>
          </a:p>
        </p:txBody>
      </p:sp>
      <p:cxnSp>
        <p:nvCxnSpPr>
          <p:cNvPr id="22" name="Straight Connector 21">
            <a:extLst>
              <a:ext uri="{FF2B5EF4-FFF2-40B4-BE49-F238E27FC236}">
                <a16:creationId xmlns:a16="http://schemas.microsoft.com/office/drawing/2014/main" id="{5C9D3682-575E-4409-BEBB-86151F2CAB85}"/>
              </a:ext>
            </a:extLst>
          </p:cNvPr>
          <p:cNvCxnSpPr/>
          <p:nvPr/>
        </p:nvCxnSpPr>
        <p:spPr>
          <a:xfrm>
            <a:off x="435592" y="1935159"/>
            <a:ext cx="36964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BBFB642F-AC2F-4BDD-85CD-DF681FAD3D71}"/>
              </a:ext>
            </a:extLst>
          </p:cNvPr>
          <p:cNvSpPr txBox="1">
            <a:spLocks/>
          </p:cNvSpPr>
          <p:nvPr/>
        </p:nvSpPr>
        <p:spPr>
          <a:xfrm>
            <a:off x="5023449" y="1682964"/>
            <a:ext cx="3485072" cy="20005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300" i="1" dirty="0">
                <a:solidFill>
                  <a:srgbClr val="280071"/>
                </a:solidFill>
                <a:latin typeface="Arial" charset="0"/>
                <a:ea typeface="MS PGothic"/>
              </a:rPr>
              <a:t>New Product Line Launches</a:t>
            </a:r>
          </a:p>
        </p:txBody>
      </p:sp>
      <p:cxnSp>
        <p:nvCxnSpPr>
          <p:cNvPr id="24" name="Straight Connector 23">
            <a:extLst>
              <a:ext uri="{FF2B5EF4-FFF2-40B4-BE49-F238E27FC236}">
                <a16:creationId xmlns:a16="http://schemas.microsoft.com/office/drawing/2014/main" id="{ECC1913D-13A7-432A-AE04-0B7E4C2C9AC1}"/>
              </a:ext>
            </a:extLst>
          </p:cNvPr>
          <p:cNvCxnSpPr/>
          <p:nvPr/>
        </p:nvCxnSpPr>
        <p:spPr>
          <a:xfrm>
            <a:off x="4944327" y="1932291"/>
            <a:ext cx="369646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DE245F6-5E42-4C51-8F4D-55BD7503A90A}"/>
              </a:ext>
            </a:extLst>
          </p:cNvPr>
          <p:cNvSpPr/>
          <p:nvPr/>
        </p:nvSpPr>
        <p:spPr>
          <a:xfrm>
            <a:off x="6242122" y="4452745"/>
            <a:ext cx="2303780" cy="365760"/>
          </a:xfrm>
          <a:prstGeom prst="rect">
            <a:avLst/>
          </a:prstGeom>
          <a:solidFill>
            <a:srgbClr val="28007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DF Dialysis </a:t>
            </a:r>
          </a:p>
        </p:txBody>
      </p:sp>
      <p:sp>
        <p:nvSpPr>
          <p:cNvPr id="28" name="Text Placeholder 3">
            <a:extLst>
              <a:ext uri="{FF2B5EF4-FFF2-40B4-BE49-F238E27FC236}">
                <a16:creationId xmlns:a16="http://schemas.microsoft.com/office/drawing/2014/main" id="{38B18754-72F4-459F-A0CC-8812AED48868}"/>
              </a:ext>
            </a:extLst>
          </p:cNvPr>
          <p:cNvSpPr txBox="1">
            <a:spLocks/>
          </p:cNvSpPr>
          <p:nvPr/>
        </p:nvSpPr>
        <p:spPr>
          <a:xfrm>
            <a:off x="5060830" y="3466001"/>
            <a:ext cx="3485072" cy="90794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8 billion highly fragmented global market</a:t>
            </a:r>
          </a:p>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Real-time data (results in 1 hour)</a:t>
            </a:r>
          </a:p>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15 different assays simultaneously</a:t>
            </a:r>
          </a:p>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DialyPath</a:t>
            </a:r>
            <a:r>
              <a:rPr lang="en-US" sz="1100" baseline="30000" dirty="0">
                <a:solidFill>
                  <a:srgbClr val="002060"/>
                </a:solidFill>
                <a:latin typeface="Arial" charset="0"/>
                <a:ea typeface="MS PGothic"/>
              </a:rPr>
              <a:t>TM</a:t>
            </a:r>
            <a:r>
              <a:rPr lang="en-US" sz="1100" dirty="0">
                <a:solidFill>
                  <a:srgbClr val="002060"/>
                </a:solidFill>
                <a:latin typeface="Arial" charset="0"/>
                <a:ea typeface="MS PGothic"/>
              </a:rPr>
              <a:t> and SequaPath</a:t>
            </a:r>
            <a:r>
              <a:rPr lang="en-US" sz="1100" baseline="30000" dirty="0">
                <a:solidFill>
                  <a:srgbClr val="002060"/>
                </a:solidFill>
                <a:latin typeface="Arial" charset="0"/>
                <a:ea typeface="MS PGothic"/>
              </a:rPr>
              <a:t>TM</a:t>
            </a:r>
            <a:r>
              <a:rPr lang="en-US" sz="1100" dirty="0">
                <a:solidFill>
                  <a:srgbClr val="002060"/>
                </a:solidFill>
                <a:latin typeface="Arial" charset="0"/>
                <a:ea typeface="MS PGothic"/>
              </a:rPr>
              <a:t> in the pipeline</a:t>
            </a:r>
          </a:p>
        </p:txBody>
      </p:sp>
      <p:sp>
        <p:nvSpPr>
          <p:cNvPr id="31" name="Text Placeholder 3">
            <a:extLst>
              <a:ext uri="{FF2B5EF4-FFF2-40B4-BE49-F238E27FC236}">
                <a16:creationId xmlns:a16="http://schemas.microsoft.com/office/drawing/2014/main" id="{7FFE779F-74E6-4252-AF2C-79EE0CDE907D}"/>
              </a:ext>
            </a:extLst>
          </p:cNvPr>
          <p:cNvSpPr txBox="1">
            <a:spLocks/>
          </p:cNvSpPr>
          <p:nvPr/>
        </p:nvSpPr>
        <p:spPr>
          <a:xfrm>
            <a:off x="6335486" y="5502364"/>
            <a:ext cx="2173035" cy="93871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Targeting 2020 relaunch</a:t>
            </a:r>
          </a:p>
          <a:p>
            <a:pPr marL="285750" indent="-285750" fontAlgn="base">
              <a:lnSpc>
                <a:spcPct val="100000"/>
              </a:lnSpc>
              <a:spcBef>
                <a:spcPts val="600"/>
              </a:spcBef>
              <a:spcAft>
                <a:spcPct val="0"/>
              </a:spcAft>
              <a:buFont typeface="Wingdings" panose="05000000000000000000" pitchFamily="2" charset="2"/>
              <a:buChar char="§"/>
            </a:pPr>
            <a:r>
              <a:rPr lang="en-US" sz="1100" dirty="0">
                <a:solidFill>
                  <a:srgbClr val="002060"/>
                </a:solidFill>
                <a:latin typeface="Arial" charset="0"/>
                <a:ea typeface="MS PGothic"/>
              </a:rPr>
              <a:t>Over 15% of patients on HDF in Europe</a:t>
            </a:r>
          </a:p>
          <a:p>
            <a:pPr marL="285750" indent="-285750" fontAlgn="base">
              <a:lnSpc>
                <a:spcPct val="100000"/>
              </a:lnSpc>
              <a:spcBef>
                <a:spcPts val="1200"/>
              </a:spcBef>
              <a:spcAft>
                <a:spcPct val="0"/>
              </a:spcAft>
              <a:buFont typeface="Wingdings" panose="05000000000000000000" pitchFamily="2" charset="2"/>
              <a:buChar char="§"/>
            </a:pPr>
            <a:endParaRPr lang="en-US" sz="1300" dirty="0">
              <a:solidFill>
                <a:srgbClr val="002060"/>
              </a:solidFill>
              <a:latin typeface="Arial" charset="0"/>
              <a:ea typeface="MS PGothic"/>
            </a:endParaRPr>
          </a:p>
        </p:txBody>
      </p:sp>
      <p:sp>
        <p:nvSpPr>
          <p:cNvPr id="32" name="Text Placeholder 3">
            <a:extLst>
              <a:ext uri="{FF2B5EF4-FFF2-40B4-BE49-F238E27FC236}">
                <a16:creationId xmlns:a16="http://schemas.microsoft.com/office/drawing/2014/main" id="{D58D8576-ADCC-4A67-9288-383AE5D40CA1}"/>
              </a:ext>
            </a:extLst>
          </p:cNvPr>
          <p:cNvSpPr txBox="1">
            <a:spLocks/>
          </p:cNvSpPr>
          <p:nvPr/>
        </p:nvSpPr>
        <p:spPr>
          <a:xfrm>
            <a:off x="5075204" y="2362069"/>
            <a:ext cx="3485072" cy="338554"/>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100" i="1" dirty="0">
                <a:solidFill>
                  <a:schemeClr val="bg2">
                    <a:lumMod val="50000"/>
                  </a:schemeClr>
                </a:solidFill>
                <a:latin typeface="Arial" charset="0"/>
                <a:ea typeface="MS PGothic"/>
              </a:rPr>
              <a:t>Mobile qPCR water-borne pathogen detection system</a:t>
            </a:r>
          </a:p>
        </p:txBody>
      </p:sp>
      <p:pic>
        <p:nvPicPr>
          <p:cNvPr id="106619" name="Picture 123" descr="S100 Sink Spout">
            <a:extLst>
              <a:ext uri="{FF2B5EF4-FFF2-40B4-BE49-F238E27FC236}">
                <a16:creationId xmlns:a16="http://schemas.microsoft.com/office/drawing/2014/main" id="{6FB4750C-7027-4851-9217-91D8D1D4A7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5700" y="2861274"/>
            <a:ext cx="12763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106615" name="Picture 119" descr="S100 Shower Hand Held">
            <a:extLst>
              <a:ext uri="{FF2B5EF4-FFF2-40B4-BE49-F238E27FC236}">
                <a16:creationId xmlns:a16="http://schemas.microsoft.com/office/drawing/2014/main" id="{85939813-92A2-42BD-92A7-E5AD6146E6C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879" y="2871056"/>
            <a:ext cx="12763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106617" name="Picture 121" descr="DSU-H">
            <a:extLst>
              <a:ext uri="{FF2B5EF4-FFF2-40B4-BE49-F238E27FC236}">
                <a16:creationId xmlns:a16="http://schemas.microsoft.com/office/drawing/2014/main" id="{D1D82B4F-9A52-43AA-B6E9-E5658DB6CE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25504" y="2894393"/>
            <a:ext cx="1276350" cy="85725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5" descr="PCR Tube Strips, 8-Well Strips, Optically Clear 100 ÂµL">
            <a:extLst>
              <a:ext uri="{FF2B5EF4-FFF2-40B4-BE49-F238E27FC236}">
                <a16:creationId xmlns:a16="http://schemas.microsoft.com/office/drawing/2014/main" id="{2F38E697-7B04-4C37-959A-E8CB3828CDE9}"/>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ackgroundRemoval t="30952" b="53095" l="7143" r="93333">
                        <a14:foregroundMark x1="7143" y1="36667" x2="7143" y2="36667"/>
                        <a14:foregroundMark x1="93333" y1="36905" x2="93333" y2="36905"/>
                        <a14:foregroundMark x1="86905" y1="41905" x2="86905" y2="41905"/>
                        <a14:foregroundMark x1="85952" y1="42143" x2="85952" y2="42143"/>
                        <a14:foregroundMark x1="85476" y1="44048" x2="85476" y2="44048"/>
                        <a14:foregroundMark x1="75952" y1="40238" x2="75952" y2="40238"/>
                        <a14:foregroundMark x1="75952" y1="43333" x2="75952" y2="43333"/>
                        <a14:foregroundMark x1="76190" y1="46190" x2="76190" y2="46190"/>
                        <a14:foregroundMark x1="66190" y1="40952" x2="66190" y2="40952"/>
                        <a14:foregroundMark x1="66190" y1="45000" x2="66190" y2="45000"/>
                        <a14:foregroundMark x1="66190" y1="47619" x2="66190" y2="47619"/>
                        <a14:foregroundMark x1="65952" y1="42619" x2="65952" y2="42619"/>
                        <a14:foregroundMark x1="55952" y1="40714" x2="55952" y2="40714"/>
                        <a14:foregroundMark x1="55476" y1="43571" x2="55476" y2="43571"/>
                        <a14:foregroundMark x1="55476" y1="45952" x2="55476" y2="45952"/>
                        <a14:foregroundMark x1="55476" y1="47619" x2="55476" y2="47619"/>
                        <a14:foregroundMark x1="45238" y1="40714" x2="45238" y2="40714"/>
                        <a14:foregroundMark x1="45238" y1="43333" x2="45238" y2="43333"/>
                        <a14:foregroundMark x1="45238" y1="45476" x2="45238" y2="45476"/>
                        <a14:foregroundMark x1="35476" y1="40000" x2="35476" y2="40000"/>
                        <a14:foregroundMark x1="35476" y1="42619" x2="35476" y2="42619"/>
                        <a14:foregroundMark x1="35476" y1="45000" x2="35476" y2="45000"/>
                        <a14:foregroundMark x1="35476" y1="47143" x2="35476" y2="47143"/>
                        <a14:foregroundMark x1="24524" y1="40238" x2="24524" y2="40238"/>
                        <a14:foregroundMark x1="24524" y1="43095" x2="24524" y2="43095"/>
                        <a14:foregroundMark x1="24524" y1="45238" x2="24524" y2="45238"/>
                        <a14:foregroundMark x1="15476" y1="41429" x2="15476" y2="41429"/>
                        <a14:foregroundMark x1="15238" y1="44762" x2="15238" y2="44762"/>
                        <a14:foregroundMark x1="12381" y1="40476" x2="12381" y2="40476"/>
                        <a14:foregroundMark x1="13333" y1="34286" x2="13333" y2="34286"/>
                        <a14:foregroundMark x1="14762" y1="34286" x2="14762" y2="34286"/>
                        <a14:foregroundMark x1="15952" y1="34286" x2="15952" y2="34286"/>
                        <a14:foregroundMark x1="36190" y1="34048" x2="36190" y2="34048"/>
                        <a14:foregroundMark x1="34048" y1="34048" x2="34048" y2="34048"/>
                        <a14:foregroundMark x1="23333" y1="34048" x2="23333" y2="34048"/>
                        <a14:foregroundMark x1="24524" y1="34286" x2="24524" y2="34286"/>
                        <a14:foregroundMark x1="26429" y1="34286" x2="26429" y2="34286"/>
                        <a14:foregroundMark x1="81429" y1="37143" x2="81429" y2="37143"/>
                        <a14:foregroundMark x1="71190" y1="37143" x2="71190" y2="37143"/>
                        <a14:foregroundMark x1="60952" y1="37143" x2="60952" y2="37143"/>
                        <a14:foregroundMark x1="50476" y1="36905" x2="50476" y2="36905"/>
                        <a14:foregroundMark x1="40238" y1="36429" x2="40238" y2="36429"/>
                        <a14:foregroundMark x1="88095" y1="35000" x2="88095" y2="35000"/>
                        <a14:foregroundMark x1="87143" y1="34762" x2="87143" y2="34762"/>
                        <a14:foregroundMark x1="86190" y1="34762" x2="86190" y2="34762"/>
                        <a14:foregroundMark x1="77857" y1="34524" x2="77857" y2="34524"/>
                        <a14:foregroundMark x1="76190" y1="34286" x2="76190" y2="34286"/>
                        <a14:foregroundMark x1="74762" y1="34048" x2="74762" y2="34048"/>
                        <a14:foregroundMark x1="67143" y1="34286" x2="67143" y2="34286"/>
                        <a14:foregroundMark x1="65238" y1="34286" x2="65238" y2="34286"/>
                        <a14:foregroundMark x1="64524" y1="34286" x2="64524" y2="34286"/>
                        <a14:foregroundMark x1="66429" y1="34286" x2="66429" y2="34286"/>
                        <a14:foregroundMark x1="68095" y1="34048" x2="68095" y2="34048"/>
                        <a14:foregroundMark x1="57381" y1="34048" x2="57381" y2="34048"/>
                        <a14:foregroundMark x1="56190" y1="34048" x2="56190" y2="34048"/>
                        <a14:foregroundMark x1="54762" y1="34048" x2="54762" y2="34048"/>
                        <a14:foregroundMark x1="47143" y1="33810" x2="47143" y2="33810"/>
                        <a14:foregroundMark x1="45952" y1="33810" x2="45952" y2="33810"/>
                        <a14:foregroundMark x1="44286" y1="34048" x2="44286" y2="34048"/>
                        <a14:foregroundMark x1="36667" y1="34048" x2="36667" y2="34048"/>
                        <a14:foregroundMark x1="34762" y1="34048" x2="34762" y2="34048"/>
                        <a14:foregroundMark x1="19762" y1="36667" x2="19762" y2="36667"/>
                        <a14:foregroundMark x1="25238" y1="34048" x2="25238" y2="34048"/>
                        <a14:foregroundMark x1="7143" y1="34524" x2="7143" y2="34524"/>
                        <a14:backgroundMark x1="20476" y1="45238" x2="20476" y2="45238"/>
                        <a14:backgroundMark x1="31429" y1="48571" x2="31429" y2="48571"/>
                        <a14:backgroundMark x1="29524" y1="47619" x2="29524" y2="47619"/>
                        <a14:backgroundMark x1="30000" y1="46667" x2="30000" y2="46667"/>
                        <a14:backgroundMark x1="19762" y1="44286" x2="19762" y2="44286"/>
                        <a14:backgroundMark x1="19286" y1="43810" x2="19286" y2="43810"/>
                        <a14:backgroundMark x1="19524" y1="43571" x2="19524" y2="43571"/>
                      </a14:backgroundRemoval>
                    </a14:imgEffect>
                  </a14:imgLayer>
                </a14:imgProps>
              </a:ext>
              <a:ext uri="{28A0092B-C50C-407E-A947-70E740481C1C}">
                <a14:useLocalDpi xmlns:a14="http://schemas.microsoft.com/office/drawing/2010/main" val="0"/>
              </a:ext>
            </a:extLst>
          </a:blip>
          <a:srcRect t="28586" b="43687"/>
          <a:stretch/>
        </p:blipFill>
        <p:spPr bwMode="auto">
          <a:xfrm>
            <a:off x="5369989" y="2662638"/>
            <a:ext cx="2845138" cy="788886"/>
          </a:xfrm>
          <a:prstGeom prst="rect">
            <a:avLst/>
          </a:prstGeom>
          <a:noFill/>
          <a:extLst>
            <a:ext uri="{909E8E84-426E-40DD-AFC4-6F175D3DCCD1}">
              <a14:hiddenFill xmlns:a14="http://schemas.microsoft.com/office/drawing/2010/main">
                <a:solidFill>
                  <a:srgbClr val="FFFFFF"/>
                </a:solidFill>
              </a14:hiddenFill>
            </a:ext>
          </a:extLst>
        </p:spPr>
      </p:pic>
      <p:sp>
        <p:nvSpPr>
          <p:cNvPr id="34" name="Text Placeholder 3">
            <a:extLst>
              <a:ext uri="{FF2B5EF4-FFF2-40B4-BE49-F238E27FC236}">
                <a16:creationId xmlns:a16="http://schemas.microsoft.com/office/drawing/2014/main" id="{9CF251C2-9720-4506-8163-1C3C4326F2FA}"/>
              </a:ext>
            </a:extLst>
          </p:cNvPr>
          <p:cNvSpPr txBox="1">
            <a:spLocks/>
          </p:cNvSpPr>
          <p:nvPr/>
        </p:nvSpPr>
        <p:spPr>
          <a:xfrm>
            <a:off x="6242122" y="4838031"/>
            <a:ext cx="2303780" cy="507831"/>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spAutoFit/>
          </a:bodyPr>
          <a:lstStyle>
            <a:lvl1pPr marL="0" indent="0" algn="l" defTabSz="914377" rtl="0" eaLnBrk="1" latinLnBrk="0" hangingPunct="1">
              <a:lnSpc>
                <a:spcPct val="90000"/>
              </a:lnSpc>
              <a:spcBef>
                <a:spcPts val="1000"/>
              </a:spcBef>
              <a:buFont typeface="Arial" panose="020B0604020202020204" pitchFamily="34" charset="0"/>
              <a:buNone/>
              <a:defRPr lang="en-US" sz="2000" b="1" kern="1200">
                <a:solidFill>
                  <a:schemeClr val="tx1"/>
                </a:solidFill>
                <a:latin typeface="+mn-lt"/>
                <a:ea typeface="+mn-ea"/>
                <a:cs typeface="+mn-cs"/>
              </a:defRPr>
            </a:lvl1pPr>
            <a:lvl2pPr marL="266693" indent="-266693" algn="l" defTabSz="914377" rtl="0" eaLnBrk="1" latinLnBrk="0" hangingPunct="1">
              <a:lnSpc>
                <a:spcPct val="100000"/>
              </a:lnSpc>
              <a:spcBef>
                <a:spcPts val="0"/>
              </a:spcBef>
              <a:spcAft>
                <a:spcPts val="0"/>
              </a:spcAft>
              <a:buClr>
                <a:schemeClr val="accent2"/>
              </a:buClr>
              <a:buFont typeface="Abadi" panose="020B0604020104020204" pitchFamily="34" charset="0"/>
              <a:buChar char="›"/>
              <a:defRPr lang="en-US" sz="1800" kern="1200" baseline="0">
                <a:solidFill>
                  <a:schemeClr val="tx1"/>
                </a:solidFill>
                <a:latin typeface="+mn-lt"/>
                <a:ea typeface="+mn-ea"/>
                <a:cs typeface="+mn-cs"/>
              </a:defRPr>
            </a:lvl2pPr>
            <a:lvl3pPr marL="681022" indent="-412740" algn="l" defTabSz="914377" rtl="0" eaLnBrk="1" latinLnBrk="0" hangingPunct="1">
              <a:lnSpc>
                <a:spcPct val="100000"/>
              </a:lnSpc>
              <a:spcBef>
                <a:spcPts val="0"/>
              </a:spcBef>
              <a:spcAft>
                <a:spcPts val="0"/>
              </a:spcAft>
              <a:buClr>
                <a:schemeClr val="accent2"/>
              </a:buClr>
              <a:buFontTx/>
              <a:buChar char="–"/>
              <a:defRPr lang="en-US" sz="1800" kern="1200" baseline="0">
                <a:solidFill>
                  <a:schemeClr val="tx1"/>
                </a:solidFill>
                <a:latin typeface="+mn-lt"/>
                <a:ea typeface="+mn-ea"/>
                <a:cs typeface="+mn-cs"/>
              </a:defRPr>
            </a:lvl3pPr>
            <a:lvl4pPr marL="1049312" indent="-358766" algn="l" defTabSz="914377" rtl="0" eaLnBrk="1" latinLnBrk="0" hangingPunct="1">
              <a:lnSpc>
                <a:spcPct val="100000"/>
              </a:lnSpc>
              <a:spcBef>
                <a:spcPts val="0"/>
              </a:spcBef>
              <a:spcAft>
                <a:spcPts val="0"/>
              </a:spcAft>
              <a:buClr>
                <a:schemeClr val="accent2"/>
              </a:buClr>
              <a:buFont typeface="Arial" panose="020B0604020202020204" pitchFamily="34" charset="0"/>
              <a:buChar char="•"/>
              <a:defRPr lang="en-US" sz="1800" kern="1200" baseline="0">
                <a:solidFill>
                  <a:schemeClr val="tx1"/>
                </a:solidFill>
                <a:latin typeface="+mn-lt"/>
                <a:ea typeface="+mn-ea"/>
                <a:cs typeface="+mn-cs"/>
              </a:defRPr>
            </a:lvl4pPr>
            <a:lvl5pPr marL="1416015" indent="-376229" algn="l" defTabSz="914377" rtl="0" eaLnBrk="1" latinLnBrk="0" hangingPunct="1">
              <a:lnSpc>
                <a:spcPct val="100000"/>
              </a:lnSpc>
              <a:spcBef>
                <a:spcPts val="0"/>
              </a:spcBef>
              <a:spcAft>
                <a:spcPts val="0"/>
              </a:spcAft>
              <a:buClr>
                <a:schemeClr val="accent2"/>
              </a:buClr>
              <a:buFont typeface="Calibri" panose="020F0502020204030204" pitchFamily="34" charset="0"/>
              <a:buChar char="▫"/>
              <a:defRPr lang="en-US" sz="1800" kern="1200" baseline="0">
                <a:solidFill>
                  <a:schemeClr val="tx1"/>
                </a:solidFill>
                <a:latin typeface="+mn-lt"/>
                <a:ea typeface="+mn-ea"/>
                <a:cs typeface="+mn-cs"/>
              </a:defRPr>
            </a:lvl5pPr>
            <a:lvl6pPr marL="1792243" indent="-357179" algn="l" defTabSz="914377" rtl="0" eaLnBrk="1" latinLnBrk="0" hangingPunct="1">
              <a:lnSpc>
                <a:spcPct val="100000"/>
              </a:lnSpc>
              <a:spcBef>
                <a:spcPts val="0"/>
              </a:spcBef>
              <a:spcAft>
                <a:spcPts val="0"/>
              </a:spcAft>
              <a:buClr>
                <a:schemeClr val="accent2"/>
              </a:buClr>
              <a:buSzPct val="80000"/>
              <a:buFont typeface="Abadi" panose="020B0604020104020204" pitchFamily="34" charset="0"/>
              <a:buChar char="›"/>
              <a:defRPr sz="1800" kern="1200" baseline="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base">
              <a:lnSpc>
                <a:spcPct val="100000"/>
              </a:lnSpc>
              <a:spcBef>
                <a:spcPct val="0"/>
              </a:spcBef>
              <a:spcAft>
                <a:spcPct val="0"/>
              </a:spcAft>
            </a:pPr>
            <a:r>
              <a:rPr lang="en-US" sz="1100" i="1" dirty="0">
                <a:solidFill>
                  <a:schemeClr val="bg2">
                    <a:lumMod val="50000"/>
                  </a:schemeClr>
                </a:solidFill>
                <a:latin typeface="Arial" charset="0"/>
                <a:ea typeface="MS PGothic"/>
              </a:rPr>
              <a:t>Enables hemodialysis machine to perform hemodiafiltration treatment</a:t>
            </a:r>
          </a:p>
        </p:txBody>
      </p:sp>
      <p:pic>
        <p:nvPicPr>
          <p:cNvPr id="12" name="Picture 11" descr="A close up of a sign&#10;&#10;Description automatically generated">
            <a:extLst>
              <a:ext uri="{FF2B5EF4-FFF2-40B4-BE49-F238E27FC236}">
                <a16:creationId xmlns:a16="http://schemas.microsoft.com/office/drawing/2014/main" id="{72303AEC-0C22-43B4-AF38-64B740386491}"/>
              </a:ext>
            </a:extLst>
          </p:cNvPr>
          <p:cNvPicPr>
            <a:picLocks noChangeAspect="1"/>
          </p:cNvPicPr>
          <p:nvPr/>
        </p:nvPicPr>
        <p:blipFill rotWithShape="1">
          <a:blip r:embed="rId12">
            <a:extLst>
              <a:ext uri="{28A0092B-C50C-407E-A947-70E740481C1C}">
                <a14:useLocalDpi xmlns:a14="http://schemas.microsoft.com/office/drawing/2010/main" val="0"/>
              </a:ext>
            </a:extLst>
          </a:blip>
          <a:srcRect l="22398" r="18669" b="52313"/>
          <a:stretch/>
        </p:blipFill>
        <p:spPr>
          <a:xfrm>
            <a:off x="5060830" y="4512826"/>
            <a:ext cx="1020124" cy="1910880"/>
          </a:xfrm>
          <a:prstGeom prst="rect">
            <a:avLst/>
          </a:prstGeom>
        </p:spPr>
      </p:pic>
    </p:spTree>
    <p:extLst>
      <p:ext uri="{BB962C8B-B14F-4D97-AF65-F5344CB8AC3E}">
        <p14:creationId xmlns:p14="http://schemas.microsoft.com/office/powerpoint/2010/main" val="1482525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4B609-6CD7-6C47-8ACE-C1A22F5F2AAE}"/>
              </a:ext>
            </a:extLst>
          </p:cNvPr>
          <p:cNvSpPr>
            <a:spLocks noGrp="1"/>
          </p:cNvSpPr>
          <p:nvPr>
            <p:ph type="title"/>
          </p:nvPr>
        </p:nvSpPr>
        <p:spPr>
          <a:xfrm>
            <a:off x="156611" y="397717"/>
            <a:ext cx="7801527" cy="332399"/>
          </a:xfrm>
        </p:spPr>
        <p:txBody>
          <a:bodyPr/>
          <a:lstStyle/>
          <a:p>
            <a:r>
              <a:rPr lang="en-US" sz="2400" dirty="0"/>
              <a:t>15 Consecutive Quarters of Growth Averaging 62% (YoY)</a:t>
            </a:r>
          </a:p>
        </p:txBody>
      </p:sp>
      <p:sp>
        <p:nvSpPr>
          <p:cNvPr id="3" name="Slide Number Placeholder 2">
            <a:extLst>
              <a:ext uri="{FF2B5EF4-FFF2-40B4-BE49-F238E27FC236}">
                <a16:creationId xmlns:a16="http://schemas.microsoft.com/office/drawing/2014/main" id="{A55A38DF-3E15-1849-8748-9B14BEE29FF1}"/>
              </a:ext>
            </a:extLst>
          </p:cNvPr>
          <p:cNvSpPr>
            <a:spLocks noGrp="1"/>
          </p:cNvSpPr>
          <p:nvPr>
            <p:ph type="sldNum" sz="quarter" idx="12"/>
          </p:nvPr>
        </p:nvSpPr>
        <p:spPr/>
        <p:txBody>
          <a:bodyPr/>
          <a:lstStyle/>
          <a:p>
            <a:fld id="{1703025F-5038-48A2-8F2E-D28A39FB9727}" type="slidenum">
              <a:rPr lang="en-US" smtClean="0"/>
              <a:pPr/>
              <a:t>6</a:t>
            </a:fld>
            <a:endParaRPr lang="en-US" dirty="0"/>
          </a:p>
        </p:txBody>
      </p:sp>
      <p:graphicFrame>
        <p:nvGraphicFramePr>
          <p:cNvPr id="8" name="Chart 7">
            <a:extLst>
              <a:ext uri="{FF2B5EF4-FFF2-40B4-BE49-F238E27FC236}">
                <a16:creationId xmlns:a16="http://schemas.microsoft.com/office/drawing/2014/main" id="{BDEFB6A9-8898-8245-B371-1B7261B16ECB}"/>
              </a:ext>
            </a:extLst>
          </p:cNvPr>
          <p:cNvGraphicFramePr/>
          <p:nvPr>
            <p:extLst>
              <p:ext uri="{D42A27DB-BD31-4B8C-83A1-F6EECF244321}">
                <p14:modId xmlns:p14="http://schemas.microsoft.com/office/powerpoint/2010/main" val="3873908238"/>
              </p:ext>
            </p:extLst>
          </p:nvPr>
        </p:nvGraphicFramePr>
        <p:xfrm>
          <a:off x="818864" y="1349232"/>
          <a:ext cx="7055893" cy="50355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19161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74F07-B289-8949-A184-F0C391104DE8}"/>
              </a:ext>
            </a:extLst>
          </p:cNvPr>
          <p:cNvSpPr>
            <a:spLocks noGrp="1"/>
          </p:cNvSpPr>
          <p:nvPr>
            <p:ph type="title"/>
          </p:nvPr>
        </p:nvSpPr>
        <p:spPr>
          <a:xfrm>
            <a:off x="156611" y="356168"/>
            <a:ext cx="7801527" cy="415498"/>
          </a:xfrm>
        </p:spPr>
        <p:txBody>
          <a:bodyPr/>
          <a:lstStyle/>
          <a:p>
            <a:r>
              <a:rPr lang="en-US" dirty="0"/>
              <a:t>2015 — 2019 Performance vs. Q1 2020</a:t>
            </a:r>
          </a:p>
        </p:txBody>
      </p:sp>
      <p:sp>
        <p:nvSpPr>
          <p:cNvPr id="3" name="Slide Number Placeholder 2">
            <a:extLst>
              <a:ext uri="{FF2B5EF4-FFF2-40B4-BE49-F238E27FC236}">
                <a16:creationId xmlns:a16="http://schemas.microsoft.com/office/drawing/2014/main" id="{B73C8BF2-40BC-B540-B957-449D48C0C579}"/>
              </a:ext>
            </a:extLst>
          </p:cNvPr>
          <p:cNvSpPr>
            <a:spLocks noGrp="1"/>
          </p:cNvSpPr>
          <p:nvPr>
            <p:ph type="sldNum" sz="quarter" idx="12"/>
          </p:nvPr>
        </p:nvSpPr>
        <p:spPr/>
        <p:txBody>
          <a:bodyPr/>
          <a:lstStyle/>
          <a:p>
            <a:fld id="{1703025F-5038-48A2-8F2E-D28A39FB9727}" type="slidenum">
              <a:rPr lang="en-US" smtClean="0"/>
              <a:pPr/>
              <a:t>7</a:t>
            </a:fld>
            <a:endParaRPr lang="en-US" dirty="0"/>
          </a:p>
        </p:txBody>
      </p:sp>
      <p:pic>
        <p:nvPicPr>
          <p:cNvPr id="7" name="Picture 6">
            <a:extLst>
              <a:ext uri="{FF2B5EF4-FFF2-40B4-BE49-F238E27FC236}">
                <a16:creationId xmlns:a16="http://schemas.microsoft.com/office/drawing/2014/main" id="{D2B6F94E-D3FC-D94A-A615-854E20F2B950}"/>
              </a:ext>
            </a:extLst>
          </p:cNvPr>
          <p:cNvPicPr>
            <a:picLocks noChangeAspect="1"/>
          </p:cNvPicPr>
          <p:nvPr/>
        </p:nvPicPr>
        <p:blipFill>
          <a:blip r:embed="rId2"/>
          <a:stretch>
            <a:fillRect/>
          </a:stretch>
        </p:blipFill>
        <p:spPr>
          <a:xfrm>
            <a:off x="319300" y="1709420"/>
            <a:ext cx="7224500" cy="3469033"/>
          </a:xfrm>
          <a:prstGeom prst="rect">
            <a:avLst/>
          </a:prstGeom>
        </p:spPr>
      </p:pic>
    </p:spTree>
    <p:extLst>
      <p:ext uri="{BB962C8B-B14F-4D97-AF65-F5344CB8AC3E}">
        <p14:creationId xmlns:p14="http://schemas.microsoft.com/office/powerpoint/2010/main" val="38700382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74F07-B289-8949-A184-F0C391104DE8}"/>
              </a:ext>
            </a:extLst>
          </p:cNvPr>
          <p:cNvSpPr>
            <a:spLocks noGrp="1"/>
          </p:cNvSpPr>
          <p:nvPr>
            <p:ph type="title"/>
          </p:nvPr>
        </p:nvSpPr>
        <p:spPr>
          <a:xfrm>
            <a:off x="156611" y="356168"/>
            <a:ext cx="7801527" cy="415498"/>
          </a:xfrm>
        </p:spPr>
        <p:txBody>
          <a:bodyPr/>
          <a:lstStyle/>
          <a:p>
            <a:r>
              <a:rPr lang="en-US" dirty="0"/>
              <a:t>2015 — 2019 Performance vs. Q1 2020</a:t>
            </a:r>
          </a:p>
        </p:txBody>
      </p:sp>
      <p:sp>
        <p:nvSpPr>
          <p:cNvPr id="3" name="Slide Number Placeholder 2">
            <a:extLst>
              <a:ext uri="{FF2B5EF4-FFF2-40B4-BE49-F238E27FC236}">
                <a16:creationId xmlns:a16="http://schemas.microsoft.com/office/drawing/2014/main" id="{B73C8BF2-40BC-B540-B957-449D48C0C579}"/>
              </a:ext>
            </a:extLst>
          </p:cNvPr>
          <p:cNvSpPr>
            <a:spLocks noGrp="1"/>
          </p:cNvSpPr>
          <p:nvPr>
            <p:ph type="sldNum" sz="quarter" idx="12"/>
          </p:nvPr>
        </p:nvSpPr>
        <p:spPr/>
        <p:txBody>
          <a:bodyPr/>
          <a:lstStyle/>
          <a:p>
            <a:fld id="{1703025F-5038-48A2-8F2E-D28A39FB9727}" type="slidenum">
              <a:rPr lang="en-US" smtClean="0"/>
              <a:pPr/>
              <a:t>8</a:t>
            </a:fld>
            <a:endParaRPr lang="en-US" dirty="0"/>
          </a:p>
        </p:txBody>
      </p:sp>
      <p:pic>
        <p:nvPicPr>
          <p:cNvPr id="4" name="Picture 3">
            <a:extLst>
              <a:ext uri="{FF2B5EF4-FFF2-40B4-BE49-F238E27FC236}">
                <a16:creationId xmlns:a16="http://schemas.microsoft.com/office/drawing/2014/main" id="{5C7FB844-A430-344F-B64D-1D35F3F07BFA}"/>
              </a:ext>
            </a:extLst>
          </p:cNvPr>
          <p:cNvPicPr>
            <a:picLocks noChangeAspect="1"/>
          </p:cNvPicPr>
          <p:nvPr/>
        </p:nvPicPr>
        <p:blipFill>
          <a:blip r:embed="rId2"/>
          <a:stretch>
            <a:fillRect/>
          </a:stretch>
        </p:blipFill>
        <p:spPr>
          <a:xfrm>
            <a:off x="319301" y="1708150"/>
            <a:ext cx="8449672" cy="3488690"/>
          </a:xfrm>
          <a:prstGeom prst="rect">
            <a:avLst/>
          </a:prstGeom>
        </p:spPr>
      </p:pic>
    </p:spTree>
    <p:extLst>
      <p:ext uri="{BB962C8B-B14F-4D97-AF65-F5344CB8AC3E}">
        <p14:creationId xmlns:p14="http://schemas.microsoft.com/office/powerpoint/2010/main" val="17810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2D21009-B3B5-3A47-950B-EE0E0768FF56}"/>
              </a:ext>
            </a:extLst>
          </p:cNvPr>
          <p:cNvSpPr>
            <a:spLocks noGrp="1"/>
          </p:cNvSpPr>
          <p:nvPr>
            <p:ph type="body" sz="quarter" idx="14"/>
          </p:nvPr>
        </p:nvSpPr>
        <p:spPr>
          <a:xfrm>
            <a:off x="857249" y="1524004"/>
            <a:ext cx="7966711" cy="4000069"/>
          </a:xfrm>
        </p:spPr>
        <p:txBody>
          <a:bodyPr/>
          <a:lstStyle/>
          <a:p>
            <a:pPr marL="342900" indent="-342900">
              <a:buFont typeface="Arial" panose="020B0604020202020204" pitchFamily="34" charset="0"/>
              <a:buChar char="•"/>
            </a:pPr>
            <a:r>
              <a:rPr lang="en-US" sz="2800" b="0" dirty="0"/>
              <a:t>Resumption of new customer meetings</a:t>
            </a:r>
          </a:p>
          <a:p>
            <a:pPr marL="342900" indent="-342900">
              <a:buFont typeface="Arial" panose="020B0604020202020204" pitchFamily="34" charset="0"/>
              <a:buChar char="•"/>
            </a:pPr>
            <a:r>
              <a:rPr lang="en-US" sz="2800" b="0" dirty="0"/>
              <a:t>Resumption of industry conferences</a:t>
            </a:r>
          </a:p>
          <a:p>
            <a:pPr marL="342900" indent="-342900">
              <a:buFont typeface="Arial" panose="020B0604020202020204" pitchFamily="34" charset="0"/>
              <a:buChar char="•"/>
            </a:pPr>
            <a:r>
              <a:rPr lang="en-US" sz="2800" b="0" dirty="0"/>
              <a:t>Increased pathogen outbreaks as weather warms</a:t>
            </a:r>
          </a:p>
          <a:p>
            <a:pPr marL="342900" indent="-342900">
              <a:buFont typeface="Arial" panose="020B0604020202020204" pitchFamily="34" charset="0"/>
              <a:buChar char="•"/>
            </a:pPr>
            <a:r>
              <a:rPr lang="en-US" sz="2800" b="0" dirty="0"/>
              <a:t>Large commercial opportunities are in the pipeline</a:t>
            </a:r>
          </a:p>
          <a:p>
            <a:pPr marL="342900" indent="-342900">
              <a:buFont typeface="Arial" panose="020B0604020202020204" pitchFamily="34" charset="0"/>
              <a:buChar char="•"/>
            </a:pPr>
            <a:r>
              <a:rPr lang="en-US" sz="2800" b="0" dirty="0"/>
              <a:t>Big PluraPath opportunities, with greater general awareness of pathogen risks and qPCR</a:t>
            </a:r>
          </a:p>
          <a:p>
            <a:pPr marL="342900" indent="-342900">
              <a:buFont typeface="Arial" panose="020B0604020202020204" pitchFamily="34" charset="0"/>
              <a:buChar char="•"/>
            </a:pPr>
            <a:endParaRPr lang="en-US" sz="2800" dirty="0"/>
          </a:p>
          <a:p>
            <a:pPr marL="342900" indent="-342900">
              <a:buFont typeface="Arial" panose="020B0604020202020204" pitchFamily="34" charset="0"/>
              <a:buChar char="•"/>
            </a:pPr>
            <a:endParaRPr lang="en-US" sz="2800" dirty="0"/>
          </a:p>
        </p:txBody>
      </p:sp>
      <p:sp>
        <p:nvSpPr>
          <p:cNvPr id="2" name="Title 1">
            <a:extLst>
              <a:ext uri="{FF2B5EF4-FFF2-40B4-BE49-F238E27FC236}">
                <a16:creationId xmlns:a16="http://schemas.microsoft.com/office/drawing/2014/main" id="{CCD0248B-321C-B142-A417-F116CFB9DD8A}"/>
              </a:ext>
            </a:extLst>
          </p:cNvPr>
          <p:cNvSpPr>
            <a:spLocks noGrp="1"/>
          </p:cNvSpPr>
          <p:nvPr>
            <p:ph type="title"/>
          </p:nvPr>
        </p:nvSpPr>
        <p:spPr>
          <a:xfrm>
            <a:off x="156611" y="356168"/>
            <a:ext cx="7801527" cy="415498"/>
          </a:xfrm>
        </p:spPr>
        <p:txBody>
          <a:bodyPr/>
          <a:lstStyle/>
          <a:p>
            <a:r>
              <a:rPr lang="en-US" dirty="0"/>
              <a:t>Long-Term Expectations Remain Strong</a:t>
            </a:r>
          </a:p>
        </p:txBody>
      </p:sp>
      <p:sp>
        <p:nvSpPr>
          <p:cNvPr id="3" name="Slide Number Placeholder 2">
            <a:extLst>
              <a:ext uri="{FF2B5EF4-FFF2-40B4-BE49-F238E27FC236}">
                <a16:creationId xmlns:a16="http://schemas.microsoft.com/office/drawing/2014/main" id="{30D2CDB4-3089-444A-AFB1-A27AA6FEBC3E}"/>
              </a:ext>
            </a:extLst>
          </p:cNvPr>
          <p:cNvSpPr>
            <a:spLocks noGrp="1"/>
          </p:cNvSpPr>
          <p:nvPr>
            <p:ph type="sldNum" sz="quarter" idx="12"/>
          </p:nvPr>
        </p:nvSpPr>
        <p:spPr/>
        <p:txBody>
          <a:bodyPr/>
          <a:lstStyle/>
          <a:p>
            <a:fld id="{1703025F-5038-48A2-8F2E-D28A39FB9727}" type="slidenum">
              <a:rPr lang="en-US" smtClean="0"/>
              <a:pPr/>
              <a:t>9</a:t>
            </a:fld>
            <a:endParaRPr lang="en-US" dirty="0"/>
          </a:p>
        </p:txBody>
      </p:sp>
    </p:spTree>
    <p:extLst>
      <p:ext uri="{BB962C8B-B14F-4D97-AF65-F5344CB8AC3E}">
        <p14:creationId xmlns:p14="http://schemas.microsoft.com/office/powerpoint/2010/main" val="2862569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3_AqhIiiYMQ7B_KPr60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3_AqhIiiYMQ7B_KPr60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X.kOT1n86aib81hRykG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3_AqhIiiYMQ7B_KPr607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3_AqhIiiYMQ7B_KPr607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spb8u9Ztm8Y8roJjuAU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Nv8BywXLC8yIGpTN0kgW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ephron">
      <a:dk1>
        <a:srgbClr val="4E4F51"/>
      </a:dk1>
      <a:lt1>
        <a:sysClr val="window" lastClr="FFFFFF"/>
      </a:lt1>
      <a:dk2>
        <a:srgbClr val="000000"/>
      </a:dk2>
      <a:lt2>
        <a:srgbClr val="E7E6E6"/>
      </a:lt2>
      <a:accent1>
        <a:srgbClr val="280071"/>
      </a:accent1>
      <a:accent2>
        <a:srgbClr val="0072CE"/>
      </a:accent2>
      <a:accent3>
        <a:srgbClr val="FDDA24"/>
      </a:accent3>
      <a:accent4>
        <a:srgbClr val="C3D7EE"/>
      </a:accent4>
      <a:accent5>
        <a:srgbClr val="280071"/>
      </a:accent5>
      <a:accent6>
        <a:srgbClr val="0072CE"/>
      </a:accent6>
      <a:hlink>
        <a:srgbClr val="280071"/>
      </a:hlink>
      <a:folHlink>
        <a:srgbClr val="0072CE"/>
      </a:folHlink>
    </a:clrScheme>
    <a:fontScheme name="Nephors">
      <a:majorFont>
        <a:latin typeface="Calibri Bold"/>
        <a:ea typeface=""/>
        <a:cs typeface=""/>
      </a:majorFont>
      <a:minorFont>
        <a:latin typeface="Calibri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extLst>
          <a:ext uri="{909E8E84-426E-40DD-AFC4-6F175D3DCCD1}">
            <a14:hiddenFill xmlns:a14="http://schemas.microsoft.com/office/drawing/2010/main">
              <a:solidFill>
                <a:scrgbClr r="0" g="0" b="0"/>
              </a:solidFill>
            </a14:hiddenFill>
          </a:ext>
        </a:extLst>
      </a:spPr>
      <a:bodyPr wrap="square" lIns="0" tIns="0" rIns="0" bIns="0" anchor="t" anchorCtr="0">
        <a:spAutoFit/>
      </a:bodyPr>
      <a:lstStyle>
        <a:defPPr algn="r">
          <a:defRPr sz="2800" dirty="0" smtClean="0"/>
        </a:defPPr>
      </a:lstStyle>
    </a:txDef>
  </a:objectDefaults>
  <a:extraClrSchemeLst/>
  <a:extLst>
    <a:ext uri="{05A4C25C-085E-4340-85A3-A5531E510DB2}">
      <thm15:themeFamily xmlns:thm15="http://schemas.microsoft.com/office/thememl/2012/main" name="Presentation3" id="{C65AF9B3-1AD0-4CD0-A0B9-A669CB071A10}" vid="{9337799A-240B-4695-8CA4-7997837129D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529</TotalTime>
  <Words>2153</Words>
  <Application>Microsoft Macintosh PowerPoint</Application>
  <PresentationFormat>On-screen Show (4:3)</PresentationFormat>
  <Paragraphs>280</Paragraphs>
  <Slides>24</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4" baseType="lpstr">
      <vt:lpstr>Abadi</vt:lpstr>
      <vt:lpstr>Arial</vt:lpstr>
      <vt:lpstr>Arial Black</vt:lpstr>
      <vt:lpstr>Calibri</vt:lpstr>
      <vt:lpstr>Calibri Bold</vt:lpstr>
      <vt:lpstr>Calibri Regular</vt:lpstr>
      <vt:lpstr>Trebuchet MS</vt:lpstr>
      <vt:lpstr>Wingdings</vt:lpstr>
      <vt:lpstr>1_Office Theme</vt:lpstr>
      <vt:lpstr>think-cell Slide</vt:lpstr>
      <vt:lpstr>Nephros, Inc. (Nasdaq: NEPH) Annual Meeting May 21, 2020</vt:lpstr>
      <vt:lpstr>Safe Harbor Statement</vt:lpstr>
      <vt:lpstr>Our Vision &amp; Mission</vt:lpstr>
      <vt:lpstr>PowerPoint Presentation</vt:lpstr>
      <vt:lpstr>Nephros: Three Business Segments</vt:lpstr>
      <vt:lpstr>15 Consecutive Quarters of Growth Averaging 62% (YoY)</vt:lpstr>
      <vt:lpstr>2015 — 2019 Performance vs. Q1 2020</vt:lpstr>
      <vt:lpstr>2015 — 2019 Performance vs. Q1 2020</vt:lpstr>
      <vt:lpstr>Long-Term Expectations Remain Strong</vt:lpstr>
      <vt:lpstr>PowerPoint Presentation</vt:lpstr>
      <vt:lpstr>What Does a Nephros Ultrafilter Do?</vt:lpstr>
      <vt:lpstr>Nephros Proprietary Membrane Technology</vt:lpstr>
      <vt:lpstr>Nephros Proprietary Membrane Technology</vt:lpstr>
      <vt:lpstr>Hospital Filtration Growth Drivers</vt:lpstr>
      <vt:lpstr>Introduction to Aether</vt:lpstr>
      <vt:lpstr>Aether Product Features</vt:lpstr>
      <vt:lpstr>PowerPoint Presentation</vt:lpstr>
      <vt:lpstr>Pathogen Detection:  Introducing PluraPath™</vt:lpstr>
      <vt:lpstr>Pathogen Detection:  Introducing PluraPath™</vt:lpstr>
      <vt:lpstr>Additional Pathogen Detection Launches</vt:lpstr>
      <vt:lpstr>PowerPoint Presentation</vt:lpstr>
      <vt:lpstr>Specialty Renal Products </vt:lpstr>
      <vt:lpstr>Specialty Renal Product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e Astor</dc:creator>
  <cp:lastModifiedBy>Andy Astor</cp:lastModifiedBy>
  <cp:revision>310</cp:revision>
  <cp:lastPrinted>2020-02-28T14:49:24Z</cp:lastPrinted>
  <dcterms:created xsi:type="dcterms:W3CDTF">2019-07-18T16:30:29Z</dcterms:created>
  <dcterms:modified xsi:type="dcterms:W3CDTF">2020-05-20T12:28:45Z</dcterms:modified>
</cp:coreProperties>
</file>